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 id="2147484008" r:id="rId8"/>
  </p:sldMasterIdLst>
  <p:notesMasterIdLst>
    <p:notesMasterId r:id="rId68"/>
  </p:notesMasterIdLst>
  <p:handoutMasterIdLst>
    <p:handoutMasterId r:id="rId69"/>
  </p:handoutMasterIdLst>
  <p:sldIdLst>
    <p:sldId id="1043" r:id="rId9"/>
    <p:sldId id="1081" r:id="rId10"/>
    <p:sldId id="1082" r:id="rId11"/>
    <p:sldId id="1249" r:id="rId12"/>
    <p:sldId id="1246" r:id="rId13"/>
    <p:sldId id="1295" r:id="rId14"/>
    <p:sldId id="1284" r:id="rId15"/>
    <p:sldId id="1255" r:id="rId16"/>
    <p:sldId id="1275" r:id="rId17"/>
    <p:sldId id="1276" r:id="rId18"/>
    <p:sldId id="1277" r:id="rId19"/>
    <p:sldId id="1278" r:id="rId20"/>
    <p:sldId id="1279" r:id="rId21"/>
    <p:sldId id="1280" r:id="rId22"/>
    <p:sldId id="1282" r:id="rId23"/>
    <p:sldId id="1281" r:id="rId24"/>
    <p:sldId id="1283" r:id="rId25"/>
    <p:sldId id="1285" r:id="rId26"/>
    <p:sldId id="1286" r:id="rId27"/>
    <p:sldId id="1287" r:id="rId28"/>
    <p:sldId id="1288" r:id="rId29"/>
    <p:sldId id="1289" r:id="rId30"/>
    <p:sldId id="1290" r:id="rId31"/>
    <p:sldId id="1291" r:id="rId32"/>
    <p:sldId id="1292" r:id="rId33"/>
    <p:sldId id="1293" r:id="rId34"/>
    <p:sldId id="1294" r:id="rId35"/>
    <p:sldId id="1296" r:id="rId36"/>
    <p:sldId id="1274" r:id="rId37"/>
    <p:sldId id="1001" r:id="rId38"/>
    <p:sldId id="1302" r:id="rId39"/>
    <p:sldId id="1248" r:id="rId40"/>
    <p:sldId id="1303" r:id="rId41"/>
    <p:sldId id="1305" r:id="rId42"/>
    <p:sldId id="1247" r:id="rId43"/>
    <p:sldId id="1299" r:id="rId44"/>
    <p:sldId id="1300" r:id="rId45"/>
    <p:sldId id="1306" r:id="rId46"/>
    <p:sldId id="1268" r:id="rId47"/>
    <p:sldId id="1301" r:id="rId48"/>
    <p:sldId id="1307" r:id="rId49"/>
    <p:sldId id="1308" r:id="rId50"/>
    <p:sldId id="1254" r:id="rId51"/>
    <p:sldId id="1309" r:id="rId52"/>
    <p:sldId id="1310" r:id="rId53"/>
    <p:sldId id="1175" r:id="rId54"/>
    <p:sldId id="1178" r:id="rId55"/>
    <p:sldId id="1179" r:id="rId56"/>
    <p:sldId id="1180" r:id="rId57"/>
    <p:sldId id="1311" r:id="rId58"/>
    <p:sldId id="1272" r:id="rId59"/>
    <p:sldId id="1181" r:id="rId60"/>
    <p:sldId id="1273" r:id="rId61"/>
    <p:sldId id="1313" r:id="rId62"/>
    <p:sldId id="1315" r:id="rId63"/>
    <p:sldId id="1314" r:id="rId64"/>
    <p:sldId id="1092" r:id="rId65"/>
    <p:sldId id="1154" r:id="rId66"/>
    <p:sldId id="1091" r:id="rId67"/>
  </p:sldIdLst>
  <p:sldSz cx="12192000" cy="6858000"/>
  <p:notesSz cx="6858000" cy="9144000"/>
  <p:embeddedFontLst>
    <p:embeddedFont>
      <p:font typeface="Consolas" panose="020B0609020204030204" pitchFamily="49" charset="0"/>
      <p:regular r:id="rId70"/>
      <p:bold r:id="rId71"/>
      <p:italic r:id="rId72"/>
      <p:boldItalic r:id="rId73"/>
    </p:embeddedFont>
    <p:embeddedFont>
      <p:font typeface="Ubuntu" panose="020B0604020202020204" charset="0"/>
      <p:regular r:id="rId74"/>
      <p:bold r:id="rId75"/>
      <p:italic r:id="rId76"/>
      <p:boldItalic r:id="rId77"/>
    </p:embeddedFont>
    <p:embeddedFont>
      <p:font typeface="Ubuntu Light" panose="020B0604020202020204" charset="0"/>
      <p:regular r:id="rId78"/>
      <p:italic r:id="rId79"/>
    </p:embeddedFont>
    <p:embeddedFont>
      <p:font typeface="Ubuntu Medium" panose="020B0604020202020204" charset="0"/>
      <p:regular r:id="rId80"/>
      <p:italic r:id="rId81"/>
    </p:embeddedFont>
    <p:embeddedFont>
      <p:font typeface="Verdana" panose="020B0604030504040204" pitchFamily="34" charset="0"/>
      <p:regular r:id="rId82"/>
      <p:bold r:id="rId83"/>
      <p:italic r:id="rId84"/>
      <p:boldItalic r:id="rId85"/>
    </p:embeddedFont>
  </p:embeddedFontLst>
  <p:custDataLst>
    <p:tags r:id="rId8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 id="2" name="Ruud de Jong" initials="RdJ" lastIdx="2" clrIdx="1">
    <p:extLst>
      <p:ext uri="{19B8F6BF-5375-455C-9EA6-DF929625EA0E}">
        <p15:presenceInfo xmlns:p15="http://schemas.microsoft.com/office/powerpoint/2012/main" userId="7dad54ca09ff46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F285A-C8BC-4B0D-A66D-1830FE0E492E}" v="326" dt="2022-12-14T17:10:25.1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416" autoAdjust="0"/>
    <p:restoredTop sz="95838" autoAdjust="0"/>
  </p:normalViewPr>
  <p:slideViewPr>
    <p:cSldViewPr>
      <p:cViewPr varScale="1">
        <p:scale>
          <a:sx n="74" d="100"/>
          <a:sy n="74" d="100"/>
        </p:scale>
        <p:origin x="54" y="-36"/>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notesMaster" Target="notesMasters/notesMaster1.xml"/><Relationship Id="rId84" Type="http://schemas.openxmlformats.org/officeDocument/2006/relationships/font" Target="fonts/font15.fntdata"/><Relationship Id="rId89" Type="http://schemas.openxmlformats.org/officeDocument/2006/relationships/viewProps" Target="viewProps.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font" Target="fonts/font5.fntdata"/><Relationship Id="rId79" Type="http://schemas.openxmlformats.org/officeDocument/2006/relationships/font" Target="fonts/font10.fntdata"/><Relationship Id="rId5" Type="http://schemas.openxmlformats.org/officeDocument/2006/relationships/slideMaster" Target="slideMasters/slideMaster2.xml"/><Relationship Id="rId90" Type="http://schemas.openxmlformats.org/officeDocument/2006/relationships/theme" Target="theme/theme1.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font" Target="fonts/font3.fntdata"/><Relationship Id="rId80" Type="http://schemas.openxmlformats.org/officeDocument/2006/relationships/font" Target="fonts/font11.fntdata"/><Relationship Id="rId85" Type="http://schemas.openxmlformats.org/officeDocument/2006/relationships/font" Target="fonts/font16.fntdata"/><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font" Target="fonts/font1.fntdata"/><Relationship Id="rId75" Type="http://schemas.openxmlformats.org/officeDocument/2006/relationships/font" Target="fonts/font6.fntdata"/><Relationship Id="rId83" Type="http://schemas.openxmlformats.org/officeDocument/2006/relationships/font" Target="fonts/font14.fntdata"/><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font" Target="fonts/font4.fntdata"/><Relationship Id="rId78" Type="http://schemas.openxmlformats.org/officeDocument/2006/relationships/font" Target="fonts/font9.fntdata"/><Relationship Id="rId81" Type="http://schemas.openxmlformats.org/officeDocument/2006/relationships/font" Target="fonts/font12.fntdata"/><Relationship Id="rId86"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font" Target="fonts/font7.fntdata"/><Relationship Id="rId7" Type="http://schemas.openxmlformats.org/officeDocument/2006/relationships/slideMaster" Target="slideMasters/slideMaster4.xml"/><Relationship Id="rId71" Type="http://schemas.openxmlformats.org/officeDocument/2006/relationships/font" Target="fonts/font2.fntdata"/><Relationship Id="rId92"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commentAuthors" Target="commentAuthors.xml"/><Relationship Id="rId61" Type="http://schemas.openxmlformats.org/officeDocument/2006/relationships/slide" Target="slides/slide53.xml"/><Relationship Id="rId82" Type="http://schemas.openxmlformats.org/officeDocument/2006/relationships/font" Target="fonts/font13.fntdata"/><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font" Target="fonts/font8.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 JONG, Ruud" userId="067c1632-da17-4d72-b76b-09c00f747912" providerId="ADAL" clId="{22DF285A-C8BC-4B0D-A66D-1830FE0E492E}"/>
    <pc:docChg chg="undo custSel addSld delSld modSld sldOrd">
      <pc:chgData name="DE JONG, Ruud" userId="067c1632-da17-4d72-b76b-09c00f747912" providerId="ADAL" clId="{22DF285A-C8BC-4B0D-A66D-1830FE0E492E}" dt="2022-12-15T15:39:35.882" v="30881" actId="20577"/>
      <pc:docMkLst>
        <pc:docMk/>
      </pc:docMkLst>
      <pc:sldChg chg="modSp mod">
        <pc:chgData name="DE JONG, Ruud" userId="067c1632-da17-4d72-b76b-09c00f747912" providerId="ADAL" clId="{22DF285A-C8BC-4B0D-A66D-1830FE0E492E}" dt="2022-11-25T09:30:56.410" v="2120" actId="20577"/>
        <pc:sldMkLst>
          <pc:docMk/>
          <pc:sldMk cId="337468842" sldId="1001"/>
        </pc:sldMkLst>
        <pc:spChg chg="mod">
          <ac:chgData name="DE JONG, Ruud" userId="067c1632-da17-4d72-b76b-09c00f747912" providerId="ADAL" clId="{22DF285A-C8BC-4B0D-A66D-1830FE0E492E}" dt="2022-11-25T09:30:56.410" v="2120" actId="20577"/>
          <ac:spMkLst>
            <pc:docMk/>
            <pc:sldMk cId="337468842" sldId="1001"/>
            <ac:spMk id="4" creationId="{15E659B3-EA4B-405E-9FAE-00661F32418F}"/>
          </ac:spMkLst>
        </pc:spChg>
      </pc:sldChg>
      <pc:sldChg chg="modSp del">
        <pc:chgData name="DE JONG, Ruud" userId="067c1632-da17-4d72-b76b-09c00f747912" providerId="ADAL" clId="{22DF285A-C8BC-4B0D-A66D-1830FE0E492E}" dt="2022-12-14T12:38:36.699" v="27393" actId="47"/>
        <pc:sldMkLst>
          <pc:docMk/>
          <pc:sldMk cId="3258127861" sldId="1060"/>
        </pc:sldMkLst>
        <pc:spChg chg="mod">
          <ac:chgData name="DE JONG, Ruud" userId="067c1632-da17-4d72-b76b-09c00f747912" providerId="ADAL" clId="{22DF285A-C8BC-4B0D-A66D-1830FE0E492E}" dt="2022-11-11T07:39:03.434" v="1" actId="20578"/>
          <ac:spMkLst>
            <pc:docMk/>
            <pc:sldMk cId="3258127861" sldId="1060"/>
            <ac:spMk id="13" creationId="{00000000-0000-0000-0000-000000000000}"/>
          </ac:spMkLst>
        </pc:spChg>
      </pc:sldChg>
      <pc:sldChg chg="modSp mod">
        <pc:chgData name="DE JONG, Ruud" userId="067c1632-da17-4d72-b76b-09c00f747912" providerId="ADAL" clId="{22DF285A-C8BC-4B0D-A66D-1830FE0E492E}" dt="2022-11-25T15:42:32.198" v="10113" actId="2711"/>
        <pc:sldMkLst>
          <pc:docMk/>
          <pc:sldMk cId="2674498977" sldId="1081"/>
        </pc:sldMkLst>
        <pc:spChg chg="mod">
          <ac:chgData name="DE JONG, Ruud" userId="067c1632-da17-4d72-b76b-09c00f747912" providerId="ADAL" clId="{22DF285A-C8BC-4B0D-A66D-1830FE0E492E}" dt="2022-11-25T15:42:32.198" v="10113" actId="2711"/>
          <ac:spMkLst>
            <pc:docMk/>
            <pc:sldMk cId="2674498977" sldId="1081"/>
            <ac:spMk id="4" creationId="{00000000-0000-0000-0000-000000000000}"/>
          </ac:spMkLst>
        </pc:spChg>
        <pc:spChg chg="mod">
          <ac:chgData name="DE JONG, Ruud" userId="067c1632-da17-4d72-b76b-09c00f747912" providerId="ADAL" clId="{22DF285A-C8BC-4B0D-A66D-1830FE0E492E}" dt="2022-11-25T15:42:17.145" v="10112" actId="2711"/>
          <ac:spMkLst>
            <pc:docMk/>
            <pc:sldMk cId="2674498977" sldId="1081"/>
            <ac:spMk id="5" creationId="{00000000-0000-0000-0000-000000000000}"/>
          </ac:spMkLst>
        </pc:spChg>
      </pc:sldChg>
      <pc:sldChg chg="modSp mod">
        <pc:chgData name="DE JONG, Ruud" userId="067c1632-da17-4d72-b76b-09c00f747912" providerId="ADAL" clId="{22DF285A-C8BC-4B0D-A66D-1830FE0E492E}" dt="2022-12-13T17:24:48.097" v="26839" actId="20577"/>
        <pc:sldMkLst>
          <pc:docMk/>
          <pc:sldMk cId="2236288173" sldId="1082"/>
        </pc:sldMkLst>
        <pc:spChg chg="mod">
          <ac:chgData name="DE JONG, Ruud" userId="067c1632-da17-4d72-b76b-09c00f747912" providerId="ADAL" clId="{22DF285A-C8BC-4B0D-A66D-1830FE0E492E}" dt="2022-11-25T15:41:47.421" v="10110" actId="2711"/>
          <ac:spMkLst>
            <pc:docMk/>
            <pc:sldMk cId="2236288173" sldId="1082"/>
            <ac:spMk id="4" creationId="{00000000-0000-0000-0000-000000000000}"/>
          </ac:spMkLst>
        </pc:spChg>
        <pc:spChg chg="mod">
          <ac:chgData name="DE JONG, Ruud" userId="067c1632-da17-4d72-b76b-09c00f747912" providerId="ADAL" clId="{22DF285A-C8BC-4B0D-A66D-1830FE0E492E}" dt="2022-12-13T17:24:48.097" v="26839" actId="20577"/>
          <ac:spMkLst>
            <pc:docMk/>
            <pc:sldMk cId="2236288173" sldId="1082"/>
            <ac:spMk id="5" creationId="{00000000-0000-0000-0000-000000000000}"/>
          </ac:spMkLst>
        </pc:spChg>
        <pc:spChg chg="mod">
          <ac:chgData name="DE JONG, Ruud" userId="067c1632-da17-4d72-b76b-09c00f747912" providerId="ADAL" clId="{22DF285A-C8BC-4B0D-A66D-1830FE0E492E}" dt="2022-11-25T15:41:58.974" v="10111" actId="2711"/>
          <ac:spMkLst>
            <pc:docMk/>
            <pc:sldMk cId="2236288173" sldId="1082"/>
            <ac:spMk id="9" creationId="{00000000-0000-0000-0000-000000000000}"/>
          </ac:spMkLst>
        </pc:spChg>
      </pc:sldChg>
      <pc:sldChg chg="del">
        <pc:chgData name="DE JONG, Ruud" userId="067c1632-da17-4d72-b76b-09c00f747912" providerId="ADAL" clId="{22DF285A-C8BC-4B0D-A66D-1830FE0E492E}" dt="2022-12-08T16:09:13.761" v="10665" actId="47"/>
        <pc:sldMkLst>
          <pc:docMk/>
          <pc:sldMk cId="1976849917" sldId="1083"/>
        </pc:sldMkLst>
      </pc:sldChg>
      <pc:sldChg chg="del">
        <pc:chgData name="DE JONG, Ruud" userId="067c1632-da17-4d72-b76b-09c00f747912" providerId="ADAL" clId="{22DF285A-C8BC-4B0D-A66D-1830FE0E492E}" dt="2022-12-14T12:38:36.699" v="27393" actId="47"/>
        <pc:sldMkLst>
          <pc:docMk/>
          <pc:sldMk cId="1065914524" sldId="1093"/>
        </pc:sldMkLst>
      </pc:sldChg>
      <pc:sldChg chg="addSp delSp modSp mod">
        <pc:chgData name="DE JONG, Ruud" userId="067c1632-da17-4d72-b76b-09c00f747912" providerId="ADAL" clId="{22DF285A-C8BC-4B0D-A66D-1830FE0E492E}" dt="2022-12-14T16:04:52.450" v="29182" actId="20577"/>
        <pc:sldMkLst>
          <pc:docMk/>
          <pc:sldMk cId="1491731281" sldId="1094"/>
        </pc:sldMkLst>
        <pc:spChg chg="mod">
          <ac:chgData name="DE JONG, Ruud" userId="067c1632-da17-4d72-b76b-09c00f747912" providerId="ADAL" clId="{22DF285A-C8BC-4B0D-A66D-1830FE0E492E}" dt="2022-11-25T13:26:03.054" v="8346" actId="20577"/>
          <ac:spMkLst>
            <pc:docMk/>
            <pc:sldMk cId="1491731281" sldId="1094"/>
            <ac:spMk id="2" creationId="{00000000-0000-0000-0000-000000000000}"/>
          </ac:spMkLst>
        </pc:spChg>
        <pc:spChg chg="mod">
          <ac:chgData name="DE JONG, Ruud" userId="067c1632-da17-4d72-b76b-09c00f747912" providerId="ADAL" clId="{22DF285A-C8BC-4B0D-A66D-1830FE0E492E}" dt="2022-12-14T16:04:30.281" v="29176" actId="20577"/>
          <ac:spMkLst>
            <pc:docMk/>
            <pc:sldMk cId="1491731281" sldId="1094"/>
            <ac:spMk id="3" creationId="{00000000-0000-0000-0000-000000000000}"/>
          </ac:spMkLst>
        </pc:spChg>
        <pc:spChg chg="add del mod">
          <ac:chgData name="DE JONG, Ruud" userId="067c1632-da17-4d72-b76b-09c00f747912" providerId="ADAL" clId="{22DF285A-C8BC-4B0D-A66D-1830FE0E492E}" dt="2022-11-25T13:20:38.936" v="8128"/>
          <ac:spMkLst>
            <pc:docMk/>
            <pc:sldMk cId="1491731281" sldId="1094"/>
            <ac:spMk id="4" creationId="{06506558-16B4-48FC-B1EE-34CACB9D7020}"/>
          </ac:spMkLst>
        </pc:spChg>
        <pc:spChg chg="add mod">
          <ac:chgData name="DE JONG, Ruud" userId="067c1632-da17-4d72-b76b-09c00f747912" providerId="ADAL" clId="{22DF285A-C8BC-4B0D-A66D-1830FE0E492E}" dt="2022-11-11T07:59:11.325" v="3" actId="767"/>
          <ac:spMkLst>
            <pc:docMk/>
            <pc:sldMk cId="1491731281" sldId="1094"/>
            <ac:spMk id="4" creationId="{361E5CCB-DE40-4EF2-A707-93C11FBA2EE2}"/>
          </ac:spMkLst>
        </pc:spChg>
        <pc:spChg chg="add mod">
          <ac:chgData name="DE JONG, Ruud" userId="067c1632-da17-4d72-b76b-09c00f747912" providerId="ADAL" clId="{22DF285A-C8BC-4B0D-A66D-1830FE0E492E}" dt="2022-12-14T16:03:43.258" v="29161" actId="20577"/>
          <ac:spMkLst>
            <pc:docMk/>
            <pc:sldMk cId="1491731281" sldId="1094"/>
            <ac:spMk id="5" creationId="{DDEF475B-7185-4401-86A6-F810331C37D6}"/>
          </ac:spMkLst>
        </pc:spChg>
        <pc:spChg chg="add mod">
          <ac:chgData name="DE JONG, Ruud" userId="067c1632-da17-4d72-b76b-09c00f747912" providerId="ADAL" clId="{22DF285A-C8BC-4B0D-A66D-1830FE0E492E}" dt="2022-12-14T16:04:52.450" v="29182" actId="20577"/>
          <ac:spMkLst>
            <pc:docMk/>
            <pc:sldMk cId="1491731281" sldId="1094"/>
            <ac:spMk id="6" creationId="{AEFEF4DE-F86E-4861-80A4-BD99DEFAC9FB}"/>
          </ac:spMkLst>
        </pc:spChg>
      </pc:sldChg>
      <pc:sldChg chg="del">
        <pc:chgData name="DE JONG, Ruud" userId="067c1632-da17-4d72-b76b-09c00f747912" providerId="ADAL" clId="{22DF285A-C8BC-4B0D-A66D-1830FE0E492E}" dt="2022-12-14T12:38:36.699" v="27393" actId="47"/>
        <pc:sldMkLst>
          <pc:docMk/>
          <pc:sldMk cId="1922602917" sldId="1095"/>
        </pc:sldMkLst>
      </pc:sldChg>
      <pc:sldChg chg="modSp del">
        <pc:chgData name="DE JONG, Ruud" userId="067c1632-da17-4d72-b76b-09c00f747912" providerId="ADAL" clId="{22DF285A-C8BC-4B0D-A66D-1830FE0E492E}" dt="2022-12-14T12:38:36.699" v="27393" actId="47"/>
        <pc:sldMkLst>
          <pc:docMk/>
          <pc:sldMk cId="799897071" sldId="1096"/>
        </pc:sldMkLst>
        <pc:spChg chg="mod">
          <ac:chgData name="DE JONG, Ruud" userId="067c1632-da17-4d72-b76b-09c00f747912" providerId="ADAL" clId="{22DF285A-C8BC-4B0D-A66D-1830FE0E492E}" dt="2022-11-11T07:39:03.434" v="1" actId="20578"/>
          <ac:spMkLst>
            <pc:docMk/>
            <pc:sldMk cId="799897071" sldId="1096"/>
            <ac:spMk id="13" creationId="{00000000-0000-0000-0000-000000000000}"/>
          </ac:spMkLst>
        </pc:spChg>
      </pc:sldChg>
      <pc:sldChg chg="del">
        <pc:chgData name="DE JONG, Ruud" userId="067c1632-da17-4d72-b76b-09c00f747912" providerId="ADAL" clId="{22DF285A-C8BC-4B0D-A66D-1830FE0E492E}" dt="2022-12-14T12:38:36.699" v="27393" actId="47"/>
        <pc:sldMkLst>
          <pc:docMk/>
          <pc:sldMk cId="2122681351" sldId="1097"/>
        </pc:sldMkLst>
      </pc:sldChg>
      <pc:sldChg chg="del">
        <pc:chgData name="DE JONG, Ruud" userId="067c1632-da17-4d72-b76b-09c00f747912" providerId="ADAL" clId="{22DF285A-C8BC-4B0D-A66D-1830FE0E492E}" dt="2022-12-14T12:38:36.699" v="27393" actId="47"/>
        <pc:sldMkLst>
          <pc:docMk/>
          <pc:sldMk cId="1838603999" sldId="1098"/>
        </pc:sldMkLst>
      </pc:sldChg>
      <pc:sldChg chg="del">
        <pc:chgData name="DE JONG, Ruud" userId="067c1632-da17-4d72-b76b-09c00f747912" providerId="ADAL" clId="{22DF285A-C8BC-4B0D-A66D-1830FE0E492E}" dt="2022-12-14T12:38:36.699" v="27393" actId="47"/>
        <pc:sldMkLst>
          <pc:docMk/>
          <pc:sldMk cId="2177222531" sldId="1099"/>
        </pc:sldMkLst>
      </pc:sldChg>
      <pc:sldChg chg="del">
        <pc:chgData name="DE JONG, Ruud" userId="067c1632-da17-4d72-b76b-09c00f747912" providerId="ADAL" clId="{22DF285A-C8BC-4B0D-A66D-1830FE0E492E}" dt="2022-12-14T12:38:36.699" v="27393" actId="47"/>
        <pc:sldMkLst>
          <pc:docMk/>
          <pc:sldMk cId="1876028484" sldId="1100"/>
        </pc:sldMkLst>
      </pc:sldChg>
      <pc:sldChg chg="modSp mod">
        <pc:chgData name="DE JONG, Ruud" userId="067c1632-da17-4d72-b76b-09c00f747912" providerId="ADAL" clId="{22DF285A-C8BC-4B0D-A66D-1830FE0E492E}" dt="2022-12-14T15:29:20.012" v="28613" actId="1038"/>
        <pc:sldMkLst>
          <pc:docMk/>
          <pc:sldMk cId="150779548" sldId="1101"/>
        </pc:sldMkLst>
        <pc:spChg chg="mod">
          <ac:chgData name="DE JONG, Ruud" userId="067c1632-da17-4d72-b76b-09c00f747912" providerId="ADAL" clId="{22DF285A-C8BC-4B0D-A66D-1830FE0E492E}" dt="2022-12-14T15:29:15.602" v="28612" actId="20577"/>
          <ac:spMkLst>
            <pc:docMk/>
            <pc:sldMk cId="150779548" sldId="1101"/>
            <ac:spMk id="19" creationId="{00000000-0000-0000-0000-000000000000}"/>
          </ac:spMkLst>
        </pc:spChg>
        <pc:spChg chg="mod">
          <ac:chgData name="DE JONG, Ruud" userId="067c1632-da17-4d72-b76b-09c00f747912" providerId="ADAL" clId="{22DF285A-C8BC-4B0D-A66D-1830FE0E492E}" dt="2022-12-14T15:29:20.012" v="28613" actId="1038"/>
          <ac:spMkLst>
            <pc:docMk/>
            <pc:sldMk cId="150779548" sldId="1101"/>
            <ac:spMk id="21" creationId="{00000000-0000-0000-0000-000000000000}"/>
          </ac:spMkLst>
        </pc:spChg>
        <pc:spChg chg="mod">
          <ac:chgData name="DE JONG, Ruud" userId="067c1632-da17-4d72-b76b-09c00f747912" providerId="ADAL" clId="{22DF285A-C8BC-4B0D-A66D-1830FE0E492E}" dt="2022-12-14T15:28:11.941" v="28601" actId="1037"/>
          <ac:spMkLst>
            <pc:docMk/>
            <pc:sldMk cId="150779548" sldId="1101"/>
            <ac:spMk id="22" creationId="{00000000-0000-0000-0000-000000000000}"/>
          </ac:spMkLst>
        </pc:spChg>
        <pc:cxnChg chg="mod">
          <ac:chgData name="DE JONG, Ruud" userId="067c1632-da17-4d72-b76b-09c00f747912" providerId="ADAL" clId="{22DF285A-C8BC-4B0D-A66D-1830FE0E492E}" dt="2022-12-14T15:29:20.012" v="28613" actId="1038"/>
          <ac:cxnSpMkLst>
            <pc:docMk/>
            <pc:sldMk cId="150779548" sldId="1101"/>
            <ac:cxnSpMk id="20" creationId="{00000000-0000-0000-0000-000000000000}"/>
          </ac:cxnSpMkLst>
        </pc:cxnChg>
        <pc:cxnChg chg="mod">
          <ac:chgData name="DE JONG, Ruud" userId="067c1632-da17-4d72-b76b-09c00f747912" providerId="ADAL" clId="{22DF285A-C8BC-4B0D-A66D-1830FE0E492E}" dt="2022-12-14T15:28:11.941" v="28601" actId="1037"/>
          <ac:cxnSpMkLst>
            <pc:docMk/>
            <pc:sldMk cId="150779548" sldId="1101"/>
            <ac:cxnSpMk id="23" creationId="{00000000-0000-0000-0000-000000000000}"/>
          </ac:cxnSpMkLst>
        </pc:cxnChg>
      </pc:sldChg>
      <pc:sldChg chg="del">
        <pc:chgData name="DE JONG, Ruud" userId="067c1632-da17-4d72-b76b-09c00f747912" providerId="ADAL" clId="{22DF285A-C8BC-4B0D-A66D-1830FE0E492E}" dt="2022-12-14T12:38:36.699" v="27393" actId="47"/>
        <pc:sldMkLst>
          <pc:docMk/>
          <pc:sldMk cId="2904885283" sldId="1102"/>
        </pc:sldMkLst>
      </pc:sldChg>
      <pc:sldChg chg="del">
        <pc:chgData name="DE JONG, Ruud" userId="067c1632-da17-4d72-b76b-09c00f747912" providerId="ADAL" clId="{22DF285A-C8BC-4B0D-A66D-1830FE0E492E}" dt="2022-12-14T12:38:36.699" v="27393" actId="47"/>
        <pc:sldMkLst>
          <pc:docMk/>
          <pc:sldMk cId="3168145960" sldId="1103"/>
        </pc:sldMkLst>
      </pc:sldChg>
      <pc:sldChg chg="del">
        <pc:chgData name="DE JONG, Ruud" userId="067c1632-da17-4d72-b76b-09c00f747912" providerId="ADAL" clId="{22DF285A-C8BC-4B0D-A66D-1830FE0E492E}" dt="2022-12-14T12:38:36.699" v="27393" actId="47"/>
        <pc:sldMkLst>
          <pc:docMk/>
          <pc:sldMk cId="2849130515" sldId="1104"/>
        </pc:sldMkLst>
      </pc:sldChg>
      <pc:sldChg chg="del">
        <pc:chgData name="DE JONG, Ruud" userId="067c1632-da17-4d72-b76b-09c00f747912" providerId="ADAL" clId="{22DF285A-C8BC-4B0D-A66D-1830FE0E492E}" dt="2022-12-14T12:38:36.699" v="27393" actId="47"/>
        <pc:sldMkLst>
          <pc:docMk/>
          <pc:sldMk cId="2338957943" sldId="1105"/>
        </pc:sldMkLst>
      </pc:sldChg>
      <pc:sldChg chg="del">
        <pc:chgData name="DE JONG, Ruud" userId="067c1632-da17-4d72-b76b-09c00f747912" providerId="ADAL" clId="{22DF285A-C8BC-4B0D-A66D-1830FE0E492E}" dt="2022-12-14T12:38:36.699" v="27393" actId="47"/>
        <pc:sldMkLst>
          <pc:docMk/>
          <pc:sldMk cId="1562095494" sldId="1106"/>
        </pc:sldMkLst>
      </pc:sldChg>
      <pc:sldChg chg="del">
        <pc:chgData name="DE JONG, Ruud" userId="067c1632-da17-4d72-b76b-09c00f747912" providerId="ADAL" clId="{22DF285A-C8BC-4B0D-A66D-1830FE0E492E}" dt="2022-12-14T12:38:36.699" v="27393" actId="47"/>
        <pc:sldMkLst>
          <pc:docMk/>
          <pc:sldMk cId="1961609223" sldId="1107"/>
        </pc:sldMkLst>
      </pc:sldChg>
      <pc:sldChg chg="del">
        <pc:chgData name="DE JONG, Ruud" userId="067c1632-da17-4d72-b76b-09c00f747912" providerId="ADAL" clId="{22DF285A-C8BC-4B0D-A66D-1830FE0E492E}" dt="2022-12-14T12:38:36.699" v="27393" actId="47"/>
        <pc:sldMkLst>
          <pc:docMk/>
          <pc:sldMk cId="4122017515" sldId="1108"/>
        </pc:sldMkLst>
      </pc:sldChg>
      <pc:sldChg chg="del">
        <pc:chgData name="DE JONG, Ruud" userId="067c1632-da17-4d72-b76b-09c00f747912" providerId="ADAL" clId="{22DF285A-C8BC-4B0D-A66D-1830FE0E492E}" dt="2022-12-14T12:38:36.699" v="27393" actId="47"/>
        <pc:sldMkLst>
          <pc:docMk/>
          <pc:sldMk cId="1069813947" sldId="1109"/>
        </pc:sldMkLst>
      </pc:sldChg>
      <pc:sldChg chg="del">
        <pc:chgData name="DE JONG, Ruud" userId="067c1632-da17-4d72-b76b-09c00f747912" providerId="ADAL" clId="{22DF285A-C8BC-4B0D-A66D-1830FE0E492E}" dt="2022-12-14T12:38:36.699" v="27393" actId="47"/>
        <pc:sldMkLst>
          <pc:docMk/>
          <pc:sldMk cId="2396456083" sldId="1111"/>
        </pc:sldMkLst>
      </pc:sldChg>
      <pc:sldChg chg="del">
        <pc:chgData name="DE JONG, Ruud" userId="067c1632-da17-4d72-b76b-09c00f747912" providerId="ADAL" clId="{22DF285A-C8BC-4B0D-A66D-1830FE0E492E}" dt="2022-12-14T12:38:36.699" v="27393" actId="47"/>
        <pc:sldMkLst>
          <pc:docMk/>
          <pc:sldMk cId="3493318329" sldId="1112"/>
        </pc:sldMkLst>
      </pc:sldChg>
      <pc:sldChg chg="del">
        <pc:chgData name="DE JONG, Ruud" userId="067c1632-da17-4d72-b76b-09c00f747912" providerId="ADAL" clId="{22DF285A-C8BC-4B0D-A66D-1830FE0E492E}" dt="2022-12-14T12:38:36.699" v="27393" actId="47"/>
        <pc:sldMkLst>
          <pc:docMk/>
          <pc:sldMk cId="854468404" sldId="1113"/>
        </pc:sldMkLst>
      </pc:sldChg>
      <pc:sldChg chg="del">
        <pc:chgData name="DE JONG, Ruud" userId="067c1632-da17-4d72-b76b-09c00f747912" providerId="ADAL" clId="{22DF285A-C8BC-4B0D-A66D-1830FE0E492E}" dt="2022-12-14T12:38:36.699" v="27393" actId="47"/>
        <pc:sldMkLst>
          <pc:docMk/>
          <pc:sldMk cId="3734157242" sldId="1114"/>
        </pc:sldMkLst>
      </pc:sldChg>
      <pc:sldChg chg="del">
        <pc:chgData name="DE JONG, Ruud" userId="067c1632-da17-4d72-b76b-09c00f747912" providerId="ADAL" clId="{22DF285A-C8BC-4B0D-A66D-1830FE0E492E}" dt="2022-12-14T12:38:36.699" v="27393" actId="47"/>
        <pc:sldMkLst>
          <pc:docMk/>
          <pc:sldMk cId="4012483339" sldId="1115"/>
        </pc:sldMkLst>
      </pc:sldChg>
      <pc:sldChg chg="del">
        <pc:chgData name="DE JONG, Ruud" userId="067c1632-da17-4d72-b76b-09c00f747912" providerId="ADAL" clId="{22DF285A-C8BC-4B0D-A66D-1830FE0E492E}" dt="2022-12-14T12:38:36.699" v="27393" actId="47"/>
        <pc:sldMkLst>
          <pc:docMk/>
          <pc:sldMk cId="3279656755" sldId="1117"/>
        </pc:sldMkLst>
      </pc:sldChg>
      <pc:sldChg chg="del">
        <pc:chgData name="DE JONG, Ruud" userId="067c1632-da17-4d72-b76b-09c00f747912" providerId="ADAL" clId="{22DF285A-C8BC-4B0D-A66D-1830FE0E492E}" dt="2022-12-14T12:38:36.699" v="27393" actId="47"/>
        <pc:sldMkLst>
          <pc:docMk/>
          <pc:sldMk cId="333745117" sldId="1118"/>
        </pc:sldMkLst>
      </pc:sldChg>
      <pc:sldChg chg="del">
        <pc:chgData name="DE JONG, Ruud" userId="067c1632-da17-4d72-b76b-09c00f747912" providerId="ADAL" clId="{22DF285A-C8BC-4B0D-A66D-1830FE0E492E}" dt="2022-12-14T12:38:36.699" v="27393" actId="47"/>
        <pc:sldMkLst>
          <pc:docMk/>
          <pc:sldMk cId="721683852" sldId="1119"/>
        </pc:sldMkLst>
      </pc:sldChg>
      <pc:sldChg chg="del">
        <pc:chgData name="DE JONG, Ruud" userId="067c1632-da17-4d72-b76b-09c00f747912" providerId="ADAL" clId="{22DF285A-C8BC-4B0D-A66D-1830FE0E492E}" dt="2022-12-14T12:38:36.699" v="27393" actId="47"/>
        <pc:sldMkLst>
          <pc:docMk/>
          <pc:sldMk cId="783631746" sldId="1121"/>
        </pc:sldMkLst>
      </pc:sldChg>
      <pc:sldChg chg="del">
        <pc:chgData name="DE JONG, Ruud" userId="067c1632-da17-4d72-b76b-09c00f747912" providerId="ADAL" clId="{22DF285A-C8BC-4B0D-A66D-1830FE0E492E}" dt="2022-12-14T12:38:36.699" v="27393" actId="47"/>
        <pc:sldMkLst>
          <pc:docMk/>
          <pc:sldMk cId="2215557293" sldId="1122"/>
        </pc:sldMkLst>
      </pc:sldChg>
      <pc:sldChg chg="del">
        <pc:chgData name="DE JONG, Ruud" userId="067c1632-da17-4d72-b76b-09c00f747912" providerId="ADAL" clId="{22DF285A-C8BC-4B0D-A66D-1830FE0E492E}" dt="2022-12-14T12:38:36.699" v="27393" actId="47"/>
        <pc:sldMkLst>
          <pc:docMk/>
          <pc:sldMk cId="2649293555" sldId="1123"/>
        </pc:sldMkLst>
      </pc:sldChg>
      <pc:sldChg chg="del">
        <pc:chgData name="DE JONG, Ruud" userId="067c1632-da17-4d72-b76b-09c00f747912" providerId="ADAL" clId="{22DF285A-C8BC-4B0D-A66D-1830FE0E492E}" dt="2022-12-14T12:38:36.699" v="27393" actId="47"/>
        <pc:sldMkLst>
          <pc:docMk/>
          <pc:sldMk cId="1294575945" sldId="1124"/>
        </pc:sldMkLst>
      </pc:sldChg>
      <pc:sldChg chg="del">
        <pc:chgData name="DE JONG, Ruud" userId="067c1632-da17-4d72-b76b-09c00f747912" providerId="ADAL" clId="{22DF285A-C8BC-4B0D-A66D-1830FE0E492E}" dt="2022-12-14T12:38:36.699" v="27393" actId="47"/>
        <pc:sldMkLst>
          <pc:docMk/>
          <pc:sldMk cId="742255316" sldId="1125"/>
        </pc:sldMkLst>
      </pc:sldChg>
      <pc:sldChg chg="del">
        <pc:chgData name="DE JONG, Ruud" userId="067c1632-da17-4d72-b76b-09c00f747912" providerId="ADAL" clId="{22DF285A-C8BC-4B0D-A66D-1830FE0E492E}" dt="2022-12-14T12:38:36.699" v="27393" actId="47"/>
        <pc:sldMkLst>
          <pc:docMk/>
          <pc:sldMk cId="3846544973" sldId="1126"/>
        </pc:sldMkLst>
      </pc:sldChg>
      <pc:sldChg chg="del">
        <pc:chgData name="DE JONG, Ruud" userId="067c1632-da17-4d72-b76b-09c00f747912" providerId="ADAL" clId="{22DF285A-C8BC-4B0D-A66D-1830FE0E492E}" dt="2022-12-14T12:38:36.699" v="27393" actId="47"/>
        <pc:sldMkLst>
          <pc:docMk/>
          <pc:sldMk cId="2320152162" sldId="1127"/>
        </pc:sldMkLst>
      </pc:sldChg>
      <pc:sldChg chg="del">
        <pc:chgData name="DE JONG, Ruud" userId="067c1632-da17-4d72-b76b-09c00f747912" providerId="ADAL" clId="{22DF285A-C8BC-4B0D-A66D-1830FE0E492E}" dt="2022-12-14T12:38:36.699" v="27393" actId="47"/>
        <pc:sldMkLst>
          <pc:docMk/>
          <pc:sldMk cId="3748733116" sldId="1128"/>
        </pc:sldMkLst>
      </pc:sldChg>
      <pc:sldChg chg="del">
        <pc:chgData name="DE JONG, Ruud" userId="067c1632-da17-4d72-b76b-09c00f747912" providerId="ADAL" clId="{22DF285A-C8BC-4B0D-A66D-1830FE0E492E}" dt="2022-12-14T12:38:36.699" v="27393" actId="47"/>
        <pc:sldMkLst>
          <pc:docMk/>
          <pc:sldMk cId="3396996603" sldId="1129"/>
        </pc:sldMkLst>
      </pc:sldChg>
      <pc:sldChg chg="del">
        <pc:chgData name="DE JONG, Ruud" userId="067c1632-da17-4d72-b76b-09c00f747912" providerId="ADAL" clId="{22DF285A-C8BC-4B0D-A66D-1830FE0E492E}" dt="2022-12-14T12:38:36.699" v="27393" actId="47"/>
        <pc:sldMkLst>
          <pc:docMk/>
          <pc:sldMk cId="110774751" sldId="1130"/>
        </pc:sldMkLst>
      </pc:sldChg>
      <pc:sldChg chg="del">
        <pc:chgData name="DE JONG, Ruud" userId="067c1632-da17-4d72-b76b-09c00f747912" providerId="ADAL" clId="{22DF285A-C8BC-4B0D-A66D-1830FE0E492E}" dt="2022-12-14T12:38:36.699" v="27393" actId="47"/>
        <pc:sldMkLst>
          <pc:docMk/>
          <pc:sldMk cId="95435453" sldId="1131"/>
        </pc:sldMkLst>
      </pc:sldChg>
      <pc:sldChg chg="del">
        <pc:chgData name="DE JONG, Ruud" userId="067c1632-da17-4d72-b76b-09c00f747912" providerId="ADAL" clId="{22DF285A-C8BC-4B0D-A66D-1830FE0E492E}" dt="2022-12-14T12:38:36.699" v="27393" actId="47"/>
        <pc:sldMkLst>
          <pc:docMk/>
          <pc:sldMk cId="585031500" sldId="1132"/>
        </pc:sldMkLst>
      </pc:sldChg>
      <pc:sldChg chg="del">
        <pc:chgData name="DE JONG, Ruud" userId="067c1632-da17-4d72-b76b-09c00f747912" providerId="ADAL" clId="{22DF285A-C8BC-4B0D-A66D-1830FE0E492E}" dt="2022-12-14T12:38:36.699" v="27393" actId="47"/>
        <pc:sldMkLst>
          <pc:docMk/>
          <pc:sldMk cId="2639730873" sldId="1133"/>
        </pc:sldMkLst>
      </pc:sldChg>
      <pc:sldChg chg="del">
        <pc:chgData name="DE JONG, Ruud" userId="067c1632-da17-4d72-b76b-09c00f747912" providerId="ADAL" clId="{22DF285A-C8BC-4B0D-A66D-1830FE0E492E}" dt="2022-12-14T12:38:36.699" v="27393" actId="47"/>
        <pc:sldMkLst>
          <pc:docMk/>
          <pc:sldMk cId="1641097057" sldId="1134"/>
        </pc:sldMkLst>
      </pc:sldChg>
      <pc:sldChg chg="del">
        <pc:chgData name="DE JONG, Ruud" userId="067c1632-da17-4d72-b76b-09c00f747912" providerId="ADAL" clId="{22DF285A-C8BC-4B0D-A66D-1830FE0E492E}" dt="2022-12-14T12:38:36.699" v="27393" actId="47"/>
        <pc:sldMkLst>
          <pc:docMk/>
          <pc:sldMk cId="2753314549" sldId="1135"/>
        </pc:sldMkLst>
      </pc:sldChg>
      <pc:sldChg chg="del">
        <pc:chgData name="DE JONG, Ruud" userId="067c1632-da17-4d72-b76b-09c00f747912" providerId="ADAL" clId="{22DF285A-C8BC-4B0D-A66D-1830FE0E492E}" dt="2022-12-14T12:38:36.699" v="27393" actId="47"/>
        <pc:sldMkLst>
          <pc:docMk/>
          <pc:sldMk cId="342574634" sldId="1136"/>
        </pc:sldMkLst>
      </pc:sldChg>
      <pc:sldChg chg="del">
        <pc:chgData name="DE JONG, Ruud" userId="067c1632-da17-4d72-b76b-09c00f747912" providerId="ADAL" clId="{22DF285A-C8BC-4B0D-A66D-1830FE0E492E}" dt="2022-12-14T12:38:36.699" v="27393" actId="47"/>
        <pc:sldMkLst>
          <pc:docMk/>
          <pc:sldMk cId="2286477482" sldId="1137"/>
        </pc:sldMkLst>
      </pc:sldChg>
      <pc:sldChg chg="del">
        <pc:chgData name="DE JONG, Ruud" userId="067c1632-da17-4d72-b76b-09c00f747912" providerId="ADAL" clId="{22DF285A-C8BC-4B0D-A66D-1830FE0E492E}" dt="2022-12-14T12:38:36.699" v="27393" actId="47"/>
        <pc:sldMkLst>
          <pc:docMk/>
          <pc:sldMk cId="592523611" sldId="1138"/>
        </pc:sldMkLst>
      </pc:sldChg>
      <pc:sldChg chg="del">
        <pc:chgData name="DE JONG, Ruud" userId="067c1632-da17-4d72-b76b-09c00f747912" providerId="ADAL" clId="{22DF285A-C8BC-4B0D-A66D-1830FE0E492E}" dt="2022-12-14T12:38:36.699" v="27393" actId="47"/>
        <pc:sldMkLst>
          <pc:docMk/>
          <pc:sldMk cId="4189636848" sldId="1139"/>
        </pc:sldMkLst>
      </pc:sldChg>
      <pc:sldChg chg="del">
        <pc:chgData name="DE JONG, Ruud" userId="067c1632-da17-4d72-b76b-09c00f747912" providerId="ADAL" clId="{22DF285A-C8BC-4B0D-A66D-1830FE0E492E}" dt="2022-12-14T12:38:36.699" v="27393" actId="47"/>
        <pc:sldMkLst>
          <pc:docMk/>
          <pc:sldMk cId="3985098677" sldId="1140"/>
        </pc:sldMkLst>
      </pc:sldChg>
      <pc:sldChg chg="del">
        <pc:chgData name="DE JONG, Ruud" userId="067c1632-da17-4d72-b76b-09c00f747912" providerId="ADAL" clId="{22DF285A-C8BC-4B0D-A66D-1830FE0E492E}" dt="2022-12-14T12:38:36.699" v="27393" actId="47"/>
        <pc:sldMkLst>
          <pc:docMk/>
          <pc:sldMk cId="3178121520" sldId="1141"/>
        </pc:sldMkLst>
      </pc:sldChg>
      <pc:sldChg chg="del">
        <pc:chgData name="DE JONG, Ruud" userId="067c1632-da17-4d72-b76b-09c00f747912" providerId="ADAL" clId="{22DF285A-C8BC-4B0D-A66D-1830FE0E492E}" dt="2022-12-14T12:38:36.699" v="27393" actId="47"/>
        <pc:sldMkLst>
          <pc:docMk/>
          <pc:sldMk cId="1336055248" sldId="1142"/>
        </pc:sldMkLst>
      </pc:sldChg>
      <pc:sldChg chg="del">
        <pc:chgData name="DE JONG, Ruud" userId="067c1632-da17-4d72-b76b-09c00f747912" providerId="ADAL" clId="{22DF285A-C8BC-4B0D-A66D-1830FE0E492E}" dt="2022-12-14T12:38:36.699" v="27393" actId="47"/>
        <pc:sldMkLst>
          <pc:docMk/>
          <pc:sldMk cId="1044194737" sldId="1143"/>
        </pc:sldMkLst>
      </pc:sldChg>
      <pc:sldChg chg="del">
        <pc:chgData name="DE JONG, Ruud" userId="067c1632-da17-4d72-b76b-09c00f747912" providerId="ADAL" clId="{22DF285A-C8BC-4B0D-A66D-1830FE0E492E}" dt="2022-12-14T12:38:36.699" v="27393" actId="47"/>
        <pc:sldMkLst>
          <pc:docMk/>
          <pc:sldMk cId="3123262566" sldId="1144"/>
        </pc:sldMkLst>
      </pc:sldChg>
      <pc:sldChg chg="del">
        <pc:chgData name="DE JONG, Ruud" userId="067c1632-da17-4d72-b76b-09c00f747912" providerId="ADAL" clId="{22DF285A-C8BC-4B0D-A66D-1830FE0E492E}" dt="2022-12-14T12:38:36.699" v="27393" actId="47"/>
        <pc:sldMkLst>
          <pc:docMk/>
          <pc:sldMk cId="1181097250" sldId="1145"/>
        </pc:sldMkLst>
      </pc:sldChg>
      <pc:sldChg chg="del">
        <pc:chgData name="DE JONG, Ruud" userId="067c1632-da17-4d72-b76b-09c00f747912" providerId="ADAL" clId="{22DF285A-C8BC-4B0D-A66D-1830FE0E492E}" dt="2022-12-14T12:38:36.699" v="27393" actId="47"/>
        <pc:sldMkLst>
          <pc:docMk/>
          <pc:sldMk cId="3290124722" sldId="1146"/>
        </pc:sldMkLst>
      </pc:sldChg>
      <pc:sldChg chg="del">
        <pc:chgData name="DE JONG, Ruud" userId="067c1632-da17-4d72-b76b-09c00f747912" providerId="ADAL" clId="{22DF285A-C8BC-4B0D-A66D-1830FE0E492E}" dt="2022-12-14T12:38:36.699" v="27393" actId="47"/>
        <pc:sldMkLst>
          <pc:docMk/>
          <pc:sldMk cId="895808900" sldId="1147"/>
        </pc:sldMkLst>
      </pc:sldChg>
      <pc:sldChg chg="del">
        <pc:chgData name="DE JONG, Ruud" userId="067c1632-da17-4d72-b76b-09c00f747912" providerId="ADAL" clId="{22DF285A-C8BC-4B0D-A66D-1830FE0E492E}" dt="2022-12-14T12:38:36.699" v="27393" actId="47"/>
        <pc:sldMkLst>
          <pc:docMk/>
          <pc:sldMk cId="699645193" sldId="1148"/>
        </pc:sldMkLst>
      </pc:sldChg>
      <pc:sldChg chg="del">
        <pc:chgData name="DE JONG, Ruud" userId="067c1632-da17-4d72-b76b-09c00f747912" providerId="ADAL" clId="{22DF285A-C8BC-4B0D-A66D-1830FE0E492E}" dt="2022-12-14T12:38:36.699" v="27393" actId="47"/>
        <pc:sldMkLst>
          <pc:docMk/>
          <pc:sldMk cId="1951327094" sldId="1149"/>
        </pc:sldMkLst>
      </pc:sldChg>
      <pc:sldChg chg="del">
        <pc:chgData name="DE JONG, Ruud" userId="067c1632-da17-4d72-b76b-09c00f747912" providerId="ADAL" clId="{22DF285A-C8BC-4B0D-A66D-1830FE0E492E}" dt="2022-12-14T12:38:36.699" v="27393" actId="47"/>
        <pc:sldMkLst>
          <pc:docMk/>
          <pc:sldMk cId="2183796111" sldId="1150"/>
        </pc:sldMkLst>
      </pc:sldChg>
      <pc:sldChg chg="del">
        <pc:chgData name="DE JONG, Ruud" userId="067c1632-da17-4d72-b76b-09c00f747912" providerId="ADAL" clId="{22DF285A-C8BC-4B0D-A66D-1830FE0E492E}" dt="2022-12-14T12:38:36.699" v="27393" actId="47"/>
        <pc:sldMkLst>
          <pc:docMk/>
          <pc:sldMk cId="596153436" sldId="1151"/>
        </pc:sldMkLst>
      </pc:sldChg>
      <pc:sldChg chg="del">
        <pc:chgData name="DE JONG, Ruud" userId="067c1632-da17-4d72-b76b-09c00f747912" providerId="ADAL" clId="{22DF285A-C8BC-4B0D-A66D-1830FE0E492E}" dt="2022-12-14T12:38:36.699" v="27393" actId="47"/>
        <pc:sldMkLst>
          <pc:docMk/>
          <pc:sldMk cId="1348335543" sldId="1152"/>
        </pc:sldMkLst>
      </pc:sldChg>
      <pc:sldChg chg="del">
        <pc:chgData name="DE JONG, Ruud" userId="067c1632-da17-4d72-b76b-09c00f747912" providerId="ADAL" clId="{22DF285A-C8BC-4B0D-A66D-1830FE0E492E}" dt="2022-12-14T12:38:36.699" v="27393" actId="47"/>
        <pc:sldMkLst>
          <pc:docMk/>
          <pc:sldMk cId="4030705090" sldId="1153"/>
        </pc:sldMkLst>
      </pc:sldChg>
      <pc:sldChg chg="modSp mod">
        <pc:chgData name="DE JONG, Ruud" userId="067c1632-da17-4d72-b76b-09c00f747912" providerId="ADAL" clId="{22DF285A-C8BC-4B0D-A66D-1830FE0E492E}" dt="2022-12-14T12:44:19.249" v="27446" actId="6549"/>
        <pc:sldMkLst>
          <pc:docMk/>
          <pc:sldMk cId="3875889706" sldId="1154"/>
        </pc:sldMkLst>
        <pc:spChg chg="mod">
          <ac:chgData name="DE JONG, Ruud" userId="067c1632-da17-4d72-b76b-09c00f747912" providerId="ADAL" clId="{22DF285A-C8BC-4B0D-A66D-1830FE0E492E}" dt="2022-12-14T12:44:19.249" v="27446" actId="6549"/>
          <ac:spMkLst>
            <pc:docMk/>
            <pc:sldMk cId="3875889706" sldId="1154"/>
            <ac:spMk id="2" creationId="{61BE2D3E-33AC-8C56-DBB4-0F9EB92527FF}"/>
          </ac:spMkLst>
        </pc:spChg>
      </pc:sldChg>
      <pc:sldChg chg="modSp del mod">
        <pc:chgData name="DE JONG, Ruud" userId="067c1632-da17-4d72-b76b-09c00f747912" providerId="ADAL" clId="{22DF285A-C8BC-4B0D-A66D-1830FE0E492E}" dt="2022-11-25T16:02:30.241" v="10217" actId="47"/>
        <pc:sldMkLst>
          <pc:docMk/>
          <pc:sldMk cId="2138059449" sldId="1155"/>
        </pc:sldMkLst>
        <pc:spChg chg="mod">
          <ac:chgData name="DE JONG, Ruud" userId="067c1632-da17-4d72-b76b-09c00f747912" providerId="ADAL" clId="{22DF285A-C8BC-4B0D-A66D-1830FE0E492E}" dt="2022-11-24T18:40:18.796" v="19" actId="20577"/>
          <ac:spMkLst>
            <pc:docMk/>
            <pc:sldMk cId="2138059449" sldId="1155"/>
            <ac:spMk id="8" creationId="{DA753217-8A7D-44D4-A9BE-D22936975870}"/>
          </ac:spMkLst>
        </pc:spChg>
      </pc:sldChg>
      <pc:sldChg chg="modSp add del mod">
        <pc:chgData name="DE JONG, Ruud" userId="067c1632-da17-4d72-b76b-09c00f747912" providerId="ADAL" clId="{22DF285A-C8BC-4B0D-A66D-1830FE0E492E}" dt="2022-11-25T13:40:39.427" v="8796" actId="47"/>
        <pc:sldMkLst>
          <pc:docMk/>
          <pc:sldMk cId="1759925372" sldId="1156"/>
        </pc:sldMkLst>
        <pc:spChg chg="mod">
          <ac:chgData name="DE JONG, Ruud" userId="067c1632-da17-4d72-b76b-09c00f747912" providerId="ADAL" clId="{22DF285A-C8BC-4B0D-A66D-1830FE0E492E}" dt="2022-11-24T19:25:32.805" v="524" actId="20577"/>
          <ac:spMkLst>
            <pc:docMk/>
            <pc:sldMk cId="1759925372" sldId="1156"/>
            <ac:spMk id="2" creationId="{00000000-0000-0000-0000-000000000000}"/>
          </ac:spMkLst>
        </pc:spChg>
        <pc:spChg chg="mod">
          <ac:chgData name="DE JONG, Ruud" userId="067c1632-da17-4d72-b76b-09c00f747912" providerId="ADAL" clId="{22DF285A-C8BC-4B0D-A66D-1830FE0E492E}" dt="2022-11-24T19:25:38.258" v="525" actId="6549"/>
          <ac:spMkLst>
            <pc:docMk/>
            <pc:sldMk cId="1759925372" sldId="1156"/>
            <ac:spMk id="3" creationId="{00000000-0000-0000-0000-000000000000}"/>
          </ac:spMkLst>
        </pc:spChg>
      </pc:sldChg>
      <pc:sldChg chg="del">
        <pc:chgData name="DE JONG, Ruud" userId="067c1632-da17-4d72-b76b-09c00f747912" providerId="ADAL" clId="{22DF285A-C8BC-4B0D-A66D-1830FE0E492E}" dt="2022-12-14T12:38:36.699" v="27393" actId="47"/>
        <pc:sldMkLst>
          <pc:docMk/>
          <pc:sldMk cId="124997397" sldId="1157"/>
        </pc:sldMkLst>
      </pc:sldChg>
      <pc:sldChg chg="modSp add mod">
        <pc:chgData name="DE JONG, Ruud" userId="067c1632-da17-4d72-b76b-09c00f747912" providerId="ADAL" clId="{22DF285A-C8BC-4B0D-A66D-1830FE0E492E}" dt="2022-12-14T16:08:09.822" v="29193" actId="6549"/>
        <pc:sldMkLst>
          <pc:docMk/>
          <pc:sldMk cId="3084422668" sldId="1158"/>
        </pc:sldMkLst>
        <pc:spChg chg="mod">
          <ac:chgData name="DE JONG, Ruud" userId="067c1632-da17-4d72-b76b-09c00f747912" providerId="ADAL" clId="{22DF285A-C8BC-4B0D-A66D-1830FE0E492E}" dt="2022-11-25T16:02:57.231" v="10226" actId="20577"/>
          <ac:spMkLst>
            <pc:docMk/>
            <pc:sldMk cId="3084422668" sldId="1158"/>
            <ac:spMk id="2" creationId="{00000000-0000-0000-0000-000000000000}"/>
          </ac:spMkLst>
        </pc:spChg>
        <pc:spChg chg="mod">
          <ac:chgData name="DE JONG, Ruud" userId="067c1632-da17-4d72-b76b-09c00f747912" providerId="ADAL" clId="{22DF285A-C8BC-4B0D-A66D-1830FE0E492E}" dt="2022-12-14T16:08:09.822" v="29193" actId="6549"/>
          <ac:spMkLst>
            <pc:docMk/>
            <pc:sldMk cId="3084422668" sldId="1158"/>
            <ac:spMk id="3" creationId="{00000000-0000-0000-0000-000000000000}"/>
          </ac:spMkLst>
        </pc:spChg>
      </pc:sldChg>
      <pc:sldChg chg="del">
        <pc:chgData name="DE JONG, Ruud" userId="067c1632-da17-4d72-b76b-09c00f747912" providerId="ADAL" clId="{22DF285A-C8BC-4B0D-A66D-1830FE0E492E}" dt="2022-11-25T16:08:12.942" v="10279" actId="47"/>
        <pc:sldMkLst>
          <pc:docMk/>
          <pc:sldMk cId="3739643757" sldId="1159"/>
        </pc:sldMkLst>
      </pc:sldChg>
      <pc:sldChg chg="modSp del mod">
        <pc:chgData name="DE JONG, Ruud" userId="067c1632-da17-4d72-b76b-09c00f747912" providerId="ADAL" clId="{22DF285A-C8BC-4B0D-A66D-1830FE0E492E}" dt="2022-12-14T12:38:36.699" v="27393" actId="47"/>
        <pc:sldMkLst>
          <pc:docMk/>
          <pc:sldMk cId="2608390114" sldId="1160"/>
        </pc:sldMkLst>
        <pc:spChg chg="mod">
          <ac:chgData name="DE JONG, Ruud" userId="067c1632-da17-4d72-b76b-09c00f747912" providerId="ADAL" clId="{22DF285A-C8BC-4B0D-A66D-1830FE0E492E}" dt="2022-11-25T16:19:53.382" v="10655" actId="20577"/>
          <ac:spMkLst>
            <pc:docMk/>
            <pc:sldMk cId="2608390114" sldId="1160"/>
            <ac:spMk id="2" creationId="{0164AE9A-F523-4D90-9588-2E9F0CED20C7}"/>
          </ac:spMkLst>
        </pc:spChg>
        <pc:spChg chg="mod">
          <ac:chgData name="DE JONG, Ruud" userId="067c1632-da17-4d72-b76b-09c00f747912" providerId="ADAL" clId="{22DF285A-C8BC-4B0D-A66D-1830FE0E492E}" dt="2022-12-08T16:43:58.602" v="11501" actId="20577"/>
          <ac:spMkLst>
            <pc:docMk/>
            <pc:sldMk cId="2608390114" sldId="1160"/>
            <ac:spMk id="3" creationId="{AD1AE9A6-E52D-42F6-827B-B420B444F911}"/>
          </ac:spMkLst>
        </pc:spChg>
      </pc:sldChg>
      <pc:sldChg chg="add del">
        <pc:chgData name="DE JONG, Ruud" userId="067c1632-da17-4d72-b76b-09c00f747912" providerId="ADAL" clId="{22DF285A-C8BC-4B0D-A66D-1830FE0E492E}" dt="2022-11-25T16:08:08.153" v="10278" actId="47"/>
        <pc:sldMkLst>
          <pc:docMk/>
          <pc:sldMk cId="3320082882" sldId="1161"/>
        </pc:sldMkLst>
      </pc:sldChg>
      <pc:sldChg chg="modSp del mod ord">
        <pc:chgData name="DE JONG, Ruud" userId="067c1632-da17-4d72-b76b-09c00f747912" providerId="ADAL" clId="{22DF285A-C8BC-4B0D-A66D-1830FE0E492E}" dt="2022-11-25T13:40:35.726" v="8794" actId="47"/>
        <pc:sldMkLst>
          <pc:docMk/>
          <pc:sldMk cId="2080161342" sldId="1162"/>
        </pc:sldMkLst>
        <pc:spChg chg="mod">
          <ac:chgData name="DE JONG, Ruud" userId="067c1632-da17-4d72-b76b-09c00f747912" providerId="ADAL" clId="{22DF285A-C8BC-4B0D-A66D-1830FE0E492E}" dt="2022-11-24T19:26:55.727" v="586" actId="114"/>
          <ac:spMkLst>
            <pc:docMk/>
            <pc:sldMk cId="2080161342" sldId="1162"/>
            <ac:spMk id="3" creationId="{00000000-0000-0000-0000-000000000000}"/>
          </ac:spMkLst>
        </pc:spChg>
      </pc:sldChg>
      <pc:sldChg chg="modSp add del mod">
        <pc:chgData name="DE JONG, Ruud" userId="067c1632-da17-4d72-b76b-09c00f747912" providerId="ADAL" clId="{22DF285A-C8BC-4B0D-A66D-1830FE0E492E}" dt="2022-11-25T13:40:38.227" v="8795" actId="47"/>
        <pc:sldMkLst>
          <pc:docMk/>
          <pc:sldMk cId="124986848" sldId="1163"/>
        </pc:sldMkLst>
        <pc:spChg chg="mod">
          <ac:chgData name="DE JONG, Ruud" userId="067c1632-da17-4d72-b76b-09c00f747912" providerId="ADAL" clId="{22DF285A-C8BC-4B0D-A66D-1830FE0E492E}" dt="2022-11-24T20:24:53.453" v="2055" actId="20577"/>
          <ac:spMkLst>
            <pc:docMk/>
            <pc:sldMk cId="124986848" sldId="1163"/>
            <ac:spMk id="3" creationId="{00000000-0000-0000-0000-000000000000}"/>
          </ac:spMkLst>
        </pc:spChg>
      </pc:sldChg>
      <pc:sldChg chg="addSp delSp modSp add del mod">
        <pc:chgData name="DE JONG, Ruud" userId="067c1632-da17-4d72-b76b-09c00f747912" providerId="ADAL" clId="{22DF285A-C8BC-4B0D-A66D-1830FE0E492E}" dt="2022-11-24T20:25:14.456" v="2056" actId="47"/>
        <pc:sldMkLst>
          <pc:docMk/>
          <pc:sldMk cId="3692198572" sldId="1164"/>
        </pc:sldMkLst>
        <pc:spChg chg="mod">
          <ac:chgData name="DE JONG, Ruud" userId="067c1632-da17-4d72-b76b-09c00f747912" providerId="ADAL" clId="{22DF285A-C8BC-4B0D-A66D-1830FE0E492E}" dt="2022-11-24T19:51:00.634" v="1200" actId="20577"/>
          <ac:spMkLst>
            <pc:docMk/>
            <pc:sldMk cId="3692198572" sldId="1164"/>
            <ac:spMk id="2" creationId="{00000000-0000-0000-0000-000000000000}"/>
          </ac:spMkLst>
        </pc:spChg>
        <pc:spChg chg="mod">
          <ac:chgData name="DE JONG, Ruud" userId="067c1632-da17-4d72-b76b-09c00f747912" providerId="ADAL" clId="{22DF285A-C8BC-4B0D-A66D-1830FE0E492E}" dt="2022-11-24T20:16:41.407" v="1713" actId="21"/>
          <ac:spMkLst>
            <pc:docMk/>
            <pc:sldMk cId="3692198572" sldId="1164"/>
            <ac:spMk id="3" creationId="{00000000-0000-0000-0000-000000000000}"/>
          </ac:spMkLst>
        </pc:spChg>
        <pc:spChg chg="add del mod">
          <ac:chgData name="DE JONG, Ruud" userId="067c1632-da17-4d72-b76b-09c00f747912" providerId="ADAL" clId="{22DF285A-C8BC-4B0D-A66D-1830FE0E492E}" dt="2022-11-24T19:51:08.151" v="1202" actId="478"/>
          <ac:spMkLst>
            <pc:docMk/>
            <pc:sldMk cId="3692198572" sldId="1164"/>
            <ac:spMk id="4" creationId="{C2B0F8E5-91E0-4843-8F6C-EBF7E3DDA38D}"/>
          </ac:spMkLst>
        </pc:spChg>
      </pc:sldChg>
      <pc:sldChg chg="addSp delSp modSp mod ord modClrScheme delAnim modAnim chgLayout">
        <pc:chgData name="DE JONG, Ruud" userId="067c1632-da17-4d72-b76b-09c00f747912" providerId="ADAL" clId="{22DF285A-C8BC-4B0D-A66D-1830FE0E492E}" dt="2022-12-08T16:21:54.031" v="10852" actId="478"/>
        <pc:sldMkLst>
          <pc:docMk/>
          <pc:sldMk cId="845927058" sldId="1165"/>
        </pc:sldMkLst>
        <pc:spChg chg="mod ord">
          <ac:chgData name="DE JONG, Ruud" userId="067c1632-da17-4d72-b76b-09c00f747912" providerId="ADAL" clId="{22DF285A-C8BC-4B0D-A66D-1830FE0E492E}" dt="2022-11-25T14:21:38.502" v="9355" actId="20577"/>
          <ac:spMkLst>
            <pc:docMk/>
            <pc:sldMk cId="845927058" sldId="1165"/>
            <ac:spMk id="2" creationId="{00000000-0000-0000-0000-000000000000}"/>
          </ac:spMkLst>
        </pc:spChg>
        <pc:spChg chg="del mod">
          <ac:chgData name="DE JONG, Ruud" userId="067c1632-da17-4d72-b76b-09c00f747912" providerId="ADAL" clId="{22DF285A-C8BC-4B0D-A66D-1830FE0E492E}" dt="2022-11-24T18:55:29.053" v="74" actId="478"/>
          <ac:spMkLst>
            <pc:docMk/>
            <pc:sldMk cId="845927058" sldId="1165"/>
            <ac:spMk id="3" creationId="{00000000-0000-0000-0000-000000000000}"/>
          </ac:spMkLst>
        </pc:spChg>
        <pc:spChg chg="del mod">
          <ac:chgData name="DE JONG, Ruud" userId="067c1632-da17-4d72-b76b-09c00f747912" providerId="ADAL" clId="{22DF285A-C8BC-4B0D-A66D-1830FE0E492E}" dt="2022-11-24T18:55:27.437" v="73" actId="478"/>
          <ac:spMkLst>
            <pc:docMk/>
            <pc:sldMk cId="845927058" sldId="1165"/>
            <ac:spMk id="4" creationId="{C2B0F8E5-91E0-4843-8F6C-EBF7E3DDA38D}"/>
          </ac:spMkLst>
        </pc:spChg>
        <pc:spChg chg="add mod ord">
          <ac:chgData name="DE JONG, Ruud" userId="067c1632-da17-4d72-b76b-09c00f747912" providerId="ADAL" clId="{22DF285A-C8BC-4B0D-A66D-1830FE0E492E}" dt="2022-11-25T15:15:01.151" v="9905"/>
          <ac:spMkLst>
            <pc:docMk/>
            <pc:sldMk cId="845927058" sldId="1165"/>
            <ac:spMk id="5" creationId="{B262B862-778D-4A03-A30E-0E093A46F687}"/>
          </ac:spMkLst>
        </pc:spChg>
        <pc:spChg chg="add del mod ord">
          <ac:chgData name="DE JONG, Ruud" userId="067c1632-da17-4d72-b76b-09c00f747912" providerId="ADAL" clId="{22DF285A-C8BC-4B0D-A66D-1830FE0E492E}" dt="2022-11-24T18:55:51.842" v="77" actId="478"/>
          <ac:spMkLst>
            <pc:docMk/>
            <pc:sldMk cId="845927058" sldId="1165"/>
            <ac:spMk id="6" creationId="{C8C2FCAD-0A06-4D93-A95C-7B42D99AC57A}"/>
          </ac:spMkLst>
        </pc:spChg>
        <pc:spChg chg="add del mod ord">
          <ac:chgData name="DE JONG, Ruud" userId="067c1632-da17-4d72-b76b-09c00f747912" providerId="ADAL" clId="{22DF285A-C8BC-4B0D-A66D-1830FE0E492E}" dt="2022-11-24T18:55:53.649" v="78" actId="478"/>
          <ac:spMkLst>
            <pc:docMk/>
            <pc:sldMk cId="845927058" sldId="1165"/>
            <ac:spMk id="7" creationId="{CB5786ED-618C-4FF2-827A-7AF9E272EDCE}"/>
          </ac:spMkLst>
        </pc:spChg>
        <pc:spChg chg="add mod ord">
          <ac:chgData name="DE JONG, Ruud" userId="067c1632-da17-4d72-b76b-09c00f747912" providerId="ADAL" clId="{22DF285A-C8BC-4B0D-A66D-1830FE0E492E}" dt="2022-11-24T18:59:41.599" v="252" actId="255"/>
          <ac:spMkLst>
            <pc:docMk/>
            <pc:sldMk cId="845927058" sldId="1165"/>
            <ac:spMk id="8" creationId="{B3DA6FE9-9D47-4210-BCCF-4309DE4117B1}"/>
          </ac:spMkLst>
        </pc:spChg>
        <pc:picChg chg="add del mod">
          <ac:chgData name="DE JONG, Ruud" userId="067c1632-da17-4d72-b76b-09c00f747912" providerId="ADAL" clId="{22DF285A-C8BC-4B0D-A66D-1830FE0E492E}" dt="2022-12-08T16:21:54.031" v="10852" actId="478"/>
          <ac:picMkLst>
            <pc:docMk/>
            <pc:sldMk cId="845927058" sldId="1165"/>
            <ac:picMk id="6" creationId="{35DD4A37-8135-4166-8965-AA6BD3163ADA}"/>
          </ac:picMkLst>
        </pc:picChg>
      </pc:sldChg>
      <pc:sldChg chg="addSp delSp modSp add mod ord delAnim modAnim">
        <pc:chgData name="DE JONG, Ruud" userId="067c1632-da17-4d72-b76b-09c00f747912" providerId="ADAL" clId="{22DF285A-C8BC-4B0D-A66D-1830FE0E492E}" dt="2022-12-08T16:24:55.022" v="11021" actId="478"/>
        <pc:sldMkLst>
          <pc:docMk/>
          <pc:sldMk cId="2784086030" sldId="1166"/>
        </pc:sldMkLst>
        <pc:spChg chg="mod">
          <ac:chgData name="DE JONG, Ruud" userId="067c1632-da17-4d72-b76b-09c00f747912" providerId="ADAL" clId="{22DF285A-C8BC-4B0D-A66D-1830FE0E492E}" dt="2022-11-25T15:03:03.324" v="9486" actId="20577"/>
          <ac:spMkLst>
            <pc:docMk/>
            <pc:sldMk cId="2784086030" sldId="1166"/>
            <ac:spMk id="2" creationId="{00000000-0000-0000-0000-000000000000}"/>
          </ac:spMkLst>
        </pc:spChg>
        <pc:spChg chg="mod">
          <ac:chgData name="DE JONG, Ruud" userId="067c1632-da17-4d72-b76b-09c00f747912" providerId="ADAL" clId="{22DF285A-C8BC-4B0D-A66D-1830FE0E492E}" dt="2022-11-25T15:15:08.998" v="9906"/>
          <ac:spMkLst>
            <pc:docMk/>
            <pc:sldMk cId="2784086030" sldId="1166"/>
            <ac:spMk id="5" creationId="{B262B862-778D-4A03-A30E-0E093A46F687}"/>
          </ac:spMkLst>
        </pc:spChg>
        <pc:spChg chg="mod">
          <ac:chgData name="DE JONG, Ruud" userId="067c1632-da17-4d72-b76b-09c00f747912" providerId="ADAL" clId="{22DF285A-C8BC-4B0D-A66D-1830FE0E492E}" dt="2022-11-24T19:02:35.270" v="347" actId="113"/>
          <ac:spMkLst>
            <pc:docMk/>
            <pc:sldMk cId="2784086030" sldId="1166"/>
            <ac:spMk id="8" creationId="{B3DA6FE9-9D47-4210-BCCF-4309DE4117B1}"/>
          </ac:spMkLst>
        </pc:spChg>
        <pc:picChg chg="add del mod">
          <ac:chgData name="DE JONG, Ruud" userId="067c1632-da17-4d72-b76b-09c00f747912" providerId="ADAL" clId="{22DF285A-C8BC-4B0D-A66D-1830FE0E492E}" dt="2022-12-08T16:24:55.022" v="11021" actId="478"/>
          <ac:picMkLst>
            <pc:docMk/>
            <pc:sldMk cId="2784086030" sldId="1166"/>
            <ac:picMk id="6" creationId="{BDF90E07-1730-44B0-8F1E-817370A42AA7}"/>
          </ac:picMkLst>
        </pc:picChg>
      </pc:sldChg>
      <pc:sldChg chg="addSp delSp modSp add mod ord delAnim modAnim">
        <pc:chgData name="DE JONG, Ruud" userId="067c1632-da17-4d72-b76b-09c00f747912" providerId="ADAL" clId="{22DF285A-C8BC-4B0D-A66D-1830FE0E492E}" dt="2022-12-08T16:18:56.564" v="10764" actId="478"/>
        <pc:sldMkLst>
          <pc:docMk/>
          <pc:sldMk cId="3075643141" sldId="1167"/>
        </pc:sldMkLst>
        <pc:spChg chg="mod">
          <ac:chgData name="DE JONG, Ruud" userId="067c1632-da17-4d72-b76b-09c00f747912" providerId="ADAL" clId="{22DF285A-C8BC-4B0D-A66D-1830FE0E492E}" dt="2022-11-25T14:16:52.778" v="9237" actId="20577"/>
          <ac:spMkLst>
            <pc:docMk/>
            <pc:sldMk cId="3075643141" sldId="1167"/>
            <ac:spMk id="2" creationId="{00000000-0000-0000-0000-000000000000}"/>
          </ac:spMkLst>
        </pc:spChg>
        <pc:spChg chg="mod">
          <ac:chgData name="DE JONG, Ruud" userId="067c1632-da17-4d72-b76b-09c00f747912" providerId="ADAL" clId="{22DF285A-C8BC-4B0D-A66D-1830FE0E492E}" dt="2022-11-25T13:48:30.041" v="8845" actId="20577"/>
          <ac:spMkLst>
            <pc:docMk/>
            <pc:sldMk cId="3075643141" sldId="1167"/>
            <ac:spMk id="5" creationId="{B262B862-778D-4A03-A30E-0E093A46F687}"/>
          </ac:spMkLst>
        </pc:spChg>
        <pc:spChg chg="mod">
          <ac:chgData name="DE JONG, Ruud" userId="067c1632-da17-4d72-b76b-09c00f747912" providerId="ADAL" clId="{22DF285A-C8BC-4B0D-A66D-1830FE0E492E}" dt="2022-11-24T19:29:26.338" v="604" actId="20577"/>
          <ac:spMkLst>
            <pc:docMk/>
            <pc:sldMk cId="3075643141" sldId="1167"/>
            <ac:spMk id="8" creationId="{B3DA6FE9-9D47-4210-BCCF-4309DE4117B1}"/>
          </ac:spMkLst>
        </pc:spChg>
        <pc:picChg chg="add del mod">
          <ac:chgData name="DE JONG, Ruud" userId="067c1632-da17-4d72-b76b-09c00f747912" providerId="ADAL" clId="{22DF285A-C8BC-4B0D-A66D-1830FE0E492E}" dt="2022-12-08T16:18:56.564" v="10764" actId="478"/>
          <ac:picMkLst>
            <pc:docMk/>
            <pc:sldMk cId="3075643141" sldId="1167"/>
            <ac:picMk id="6" creationId="{D9A0AE6A-5EDB-4AF5-956D-3C0F92704C42}"/>
          </ac:picMkLst>
        </pc:picChg>
      </pc:sldChg>
      <pc:sldChg chg="modSp add del mod">
        <pc:chgData name="DE JONG, Ruud" userId="067c1632-da17-4d72-b76b-09c00f747912" providerId="ADAL" clId="{22DF285A-C8BC-4B0D-A66D-1830FE0E492E}" dt="2022-11-25T16:07:29.199" v="10273" actId="47"/>
        <pc:sldMkLst>
          <pc:docMk/>
          <pc:sldMk cId="489128560" sldId="1168"/>
        </pc:sldMkLst>
        <pc:spChg chg="mod">
          <ac:chgData name="DE JONG, Ruud" userId="067c1632-da17-4d72-b76b-09c00f747912" providerId="ADAL" clId="{22DF285A-C8BC-4B0D-A66D-1830FE0E492E}" dt="2022-11-25T16:06:02.886" v="10253" actId="20577"/>
          <ac:spMkLst>
            <pc:docMk/>
            <pc:sldMk cId="489128560" sldId="1168"/>
            <ac:spMk id="2" creationId="{00000000-0000-0000-0000-000000000000}"/>
          </ac:spMkLst>
        </pc:spChg>
        <pc:spChg chg="mod">
          <ac:chgData name="DE JONG, Ruud" userId="067c1632-da17-4d72-b76b-09c00f747912" providerId="ADAL" clId="{22DF285A-C8BC-4B0D-A66D-1830FE0E492E}" dt="2022-11-25T16:07:03.013" v="10254" actId="6549"/>
          <ac:spMkLst>
            <pc:docMk/>
            <pc:sldMk cId="489128560" sldId="1168"/>
            <ac:spMk id="3" creationId="{00000000-0000-0000-0000-000000000000}"/>
          </ac:spMkLst>
        </pc:spChg>
      </pc:sldChg>
      <pc:sldChg chg="delSp new del mod modClrScheme chgLayout">
        <pc:chgData name="DE JONG, Ruud" userId="067c1632-da17-4d72-b76b-09c00f747912" providerId="ADAL" clId="{22DF285A-C8BC-4B0D-A66D-1830FE0E492E}" dt="2022-11-24T19:21:17.495" v="452" actId="47"/>
        <pc:sldMkLst>
          <pc:docMk/>
          <pc:sldMk cId="1012835890" sldId="1168"/>
        </pc:sldMkLst>
        <pc:spChg chg="del">
          <ac:chgData name="DE JONG, Ruud" userId="067c1632-da17-4d72-b76b-09c00f747912" providerId="ADAL" clId="{22DF285A-C8BC-4B0D-A66D-1830FE0E492E}" dt="2022-11-24T19:20:38.939" v="419" actId="700"/>
          <ac:spMkLst>
            <pc:docMk/>
            <pc:sldMk cId="1012835890" sldId="1168"/>
            <ac:spMk id="2" creationId="{5BBF7DA4-F406-42B2-BDFE-8FB56F440905}"/>
          </ac:spMkLst>
        </pc:spChg>
        <pc:spChg chg="del">
          <ac:chgData name="DE JONG, Ruud" userId="067c1632-da17-4d72-b76b-09c00f747912" providerId="ADAL" clId="{22DF285A-C8BC-4B0D-A66D-1830FE0E492E}" dt="2022-11-24T19:20:38.939" v="419" actId="700"/>
          <ac:spMkLst>
            <pc:docMk/>
            <pc:sldMk cId="1012835890" sldId="1168"/>
            <ac:spMk id="3" creationId="{687D701A-B2F7-4A81-BA69-E5569EFBAD5F}"/>
          </ac:spMkLst>
        </pc:spChg>
        <pc:spChg chg="del">
          <ac:chgData name="DE JONG, Ruud" userId="067c1632-da17-4d72-b76b-09c00f747912" providerId="ADAL" clId="{22DF285A-C8BC-4B0D-A66D-1830FE0E492E}" dt="2022-11-24T19:20:38.939" v="419" actId="700"/>
          <ac:spMkLst>
            <pc:docMk/>
            <pc:sldMk cId="1012835890" sldId="1168"/>
            <ac:spMk id="4" creationId="{AC8BB6BC-7A4C-4678-9166-B98CD8C9526B}"/>
          </ac:spMkLst>
        </pc:spChg>
      </pc:sldChg>
      <pc:sldChg chg="modSp add del mod">
        <pc:chgData name="DE JONG, Ruud" userId="067c1632-da17-4d72-b76b-09c00f747912" providerId="ADAL" clId="{22DF285A-C8BC-4B0D-A66D-1830FE0E492E}" dt="2022-11-25T13:40:41.710" v="8797" actId="47"/>
        <pc:sldMkLst>
          <pc:docMk/>
          <pc:sldMk cId="774419392" sldId="1169"/>
        </pc:sldMkLst>
        <pc:spChg chg="mod">
          <ac:chgData name="DE JONG, Ruud" userId="067c1632-da17-4d72-b76b-09c00f747912" providerId="ADAL" clId="{22DF285A-C8BC-4B0D-A66D-1830FE0E492E}" dt="2022-11-24T19:46:24.516" v="1091" actId="20577"/>
          <ac:spMkLst>
            <pc:docMk/>
            <pc:sldMk cId="774419392" sldId="1169"/>
            <ac:spMk id="2" creationId="{00000000-0000-0000-0000-000000000000}"/>
          </ac:spMkLst>
        </pc:spChg>
      </pc:sldChg>
      <pc:sldChg chg="addSp delSp modSp add mod ord delAnim modAnim">
        <pc:chgData name="DE JONG, Ruud" userId="067c1632-da17-4d72-b76b-09c00f747912" providerId="ADAL" clId="{22DF285A-C8BC-4B0D-A66D-1830FE0E492E}" dt="2022-12-08T16:27:18.521" v="11132" actId="478"/>
        <pc:sldMkLst>
          <pc:docMk/>
          <pc:sldMk cId="324540093" sldId="1170"/>
        </pc:sldMkLst>
        <pc:spChg chg="mod">
          <ac:chgData name="DE JONG, Ruud" userId="067c1632-da17-4d72-b76b-09c00f747912" providerId="ADAL" clId="{22DF285A-C8BC-4B0D-A66D-1830FE0E492E}" dt="2022-11-25T15:04:26.473" v="9615" actId="20577"/>
          <ac:spMkLst>
            <pc:docMk/>
            <pc:sldMk cId="324540093" sldId="1170"/>
            <ac:spMk id="2" creationId="{00000000-0000-0000-0000-000000000000}"/>
          </ac:spMkLst>
        </pc:spChg>
        <pc:spChg chg="mod">
          <ac:chgData name="DE JONG, Ruud" userId="067c1632-da17-4d72-b76b-09c00f747912" providerId="ADAL" clId="{22DF285A-C8BC-4B0D-A66D-1830FE0E492E}" dt="2022-11-25T15:15:13.189" v="9907"/>
          <ac:spMkLst>
            <pc:docMk/>
            <pc:sldMk cId="324540093" sldId="1170"/>
            <ac:spMk id="5" creationId="{B262B862-778D-4A03-A30E-0E093A46F687}"/>
          </ac:spMkLst>
        </pc:spChg>
        <pc:spChg chg="mod">
          <ac:chgData name="DE JONG, Ruud" userId="067c1632-da17-4d72-b76b-09c00f747912" providerId="ADAL" clId="{22DF285A-C8BC-4B0D-A66D-1830FE0E492E}" dt="2022-11-24T19:54:48.647" v="1352" actId="113"/>
          <ac:spMkLst>
            <pc:docMk/>
            <pc:sldMk cId="324540093" sldId="1170"/>
            <ac:spMk id="8" creationId="{B3DA6FE9-9D47-4210-BCCF-4309DE4117B1}"/>
          </ac:spMkLst>
        </pc:spChg>
        <pc:picChg chg="add del mod">
          <ac:chgData name="DE JONG, Ruud" userId="067c1632-da17-4d72-b76b-09c00f747912" providerId="ADAL" clId="{22DF285A-C8BC-4B0D-A66D-1830FE0E492E}" dt="2022-12-08T16:27:18.521" v="11132" actId="478"/>
          <ac:picMkLst>
            <pc:docMk/>
            <pc:sldMk cId="324540093" sldId="1170"/>
            <ac:picMk id="6" creationId="{AB2A821E-C782-4137-A3F4-5DB76260AEA8}"/>
          </ac:picMkLst>
        </pc:picChg>
      </pc:sldChg>
      <pc:sldChg chg="modSp add mod ord">
        <pc:chgData name="DE JONG, Ruud" userId="067c1632-da17-4d72-b76b-09c00f747912" providerId="ADAL" clId="{22DF285A-C8BC-4B0D-A66D-1830FE0E492E}" dt="2022-11-25T15:14:56.486" v="9904"/>
        <pc:sldMkLst>
          <pc:docMk/>
          <pc:sldMk cId="2474806006" sldId="1171"/>
        </pc:sldMkLst>
        <pc:spChg chg="mod">
          <ac:chgData name="DE JONG, Ruud" userId="067c1632-da17-4d72-b76b-09c00f747912" providerId="ADAL" clId="{22DF285A-C8BC-4B0D-A66D-1830FE0E492E}" dt="2022-11-25T14:16:15.635" v="9233" actId="20577"/>
          <ac:spMkLst>
            <pc:docMk/>
            <pc:sldMk cId="2474806006" sldId="1171"/>
            <ac:spMk id="3" creationId="{00000000-0000-0000-0000-000000000000}"/>
          </ac:spMkLst>
        </pc:spChg>
        <pc:spChg chg="mod">
          <ac:chgData name="DE JONG, Ruud" userId="067c1632-da17-4d72-b76b-09c00f747912" providerId="ADAL" clId="{22DF285A-C8BC-4B0D-A66D-1830FE0E492E}" dt="2022-11-25T15:14:56.486" v="9904"/>
          <ac:spMkLst>
            <pc:docMk/>
            <pc:sldMk cId="2474806006" sldId="1171"/>
            <ac:spMk id="4" creationId="{C2B0F8E5-91E0-4843-8F6C-EBF7E3DDA38D}"/>
          </ac:spMkLst>
        </pc:spChg>
      </pc:sldChg>
      <pc:sldChg chg="modSp add del mod">
        <pc:chgData name="DE JONG, Ruud" userId="067c1632-da17-4d72-b76b-09c00f747912" providerId="ADAL" clId="{22DF285A-C8BC-4B0D-A66D-1830FE0E492E}" dt="2022-11-25T16:08:03.898" v="10276" actId="47"/>
        <pc:sldMkLst>
          <pc:docMk/>
          <pc:sldMk cId="1959374497" sldId="1172"/>
        </pc:sldMkLst>
        <pc:spChg chg="mod">
          <ac:chgData name="DE JONG, Ruud" userId="067c1632-da17-4d72-b76b-09c00f747912" providerId="ADAL" clId="{22DF285A-C8BC-4B0D-A66D-1830FE0E492E}" dt="2022-11-24T20:06:53.743" v="1382" actId="20577"/>
          <ac:spMkLst>
            <pc:docMk/>
            <pc:sldMk cId="1959374497" sldId="1172"/>
            <ac:spMk id="2" creationId="{00000000-0000-0000-0000-000000000000}"/>
          </ac:spMkLst>
        </pc:spChg>
        <pc:spChg chg="mod">
          <ac:chgData name="DE JONG, Ruud" userId="067c1632-da17-4d72-b76b-09c00f747912" providerId="ADAL" clId="{22DF285A-C8BC-4B0D-A66D-1830FE0E492E}" dt="2022-11-24T20:13:05.214" v="1708" actId="20577"/>
          <ac:spMkLst>
            <pc:docMk/>
            <pc:sldMk cId="1959374497" sldId="1172"/>
            <ac:spMk id="8" creationId="{B3DA6FE9-9D47-4210-BCCF-4309DE4117B1}"/>
          </ac:spMkLst>
        </pc:spChg>
      </pc:sldChg>
      <pc:sldChg chg="modSp add del mod">
        <pc:chgData name="DE JONG, Ruud" userId="067c1632-da17-4d72-b76b-09c00f747912" providerId="ADAL" clId="{22DF285A-C8BC-4B0D-A66D-1830FE0E492E}" dt="2022-11-25T16:08:02.052" v="10275" actId="2696"/>
        <pc:sldMkLst>
          <pc:docMk/>
          <pc:sldMk cId="2204989989" sldId="1173"/>
        </pc:sldMkLst>
        <pc:spChg chg="mod">
          <ac:chgData name="DE JONG, Ruud" userId="067c1632-da17-4d72-b76b-09c00f747912" providerId="ADAL" clId="{22DF285A-C8BC-4B0D-A66D-1830FE0E492E}" dt="2022-11-24T19:57:14.218" v="1380" actId="20577"/>
          <ac:spMkLst>
            <pc:docMk/>
            <pc:sldMk cId="2204989989" sldId="1173"/>
            <ac:spMk id="2" creationId="{00000000-0000-0000-0000-000000000000}"/>
          </ac:spMkLst>
        </pc:spChg>
        <pc:spChg chg="mod">
          <ac:chgData name="DE JONG, Ruud" userId="067c1632-da17-4d72-b76b-09c00f747912" providerId="ADAL" clId="{22DF285A-C8BC-4B0D-A66D-1830FE0E492E}" dt="2022-11-25T16:07:37.834" v="10274" actId="6549"/>
          <ac:spMkLst>
            <pc:docMk/>
            <pc:sldMk cId="2204989989" sldId="1173"/>
            <ac:spMk id="3" creationId="{00000000-0000-0000-0000-000000000000}"/>
          </ac:spMkLst>
        </pc:spChg>
      </pc:sldChg>
      <pc:sldChg chg="modSp add del mod">
        <pc:chgData name="DE JONG, Ruud" userId="067c1632-da17-4d72-b76b-09c00f747912" providerId="ADAL" clId="{22DF285A-C8BC-4B0D-A66D-1830FE0E492E}" dt="2022-11-25T16:08:05.062" v="10277" actId="47"/>
        <pc:sldMkLst>
          <pc:docMk/>
          <pc:sldMk cId="286280228" sldId="1174"/>
        </pc:sldMkLst>
        <pc:spChg chg="mod">
          <ac:chgData name="DE JONG, Ruud" userId="067c1632-da17-4d72-b76b-09c00f747912" providerId="ADAL" clId="{22DF285A-C8BC-4B0D-A66D-1830FE0E492E}" dt="2022-11-24T20:07:12.312" v="1385" actId="20577"/>
          <ac:spMkLst>
            <pc:docMk/>
            <pc:sldMk cId="286280228" sldId="1174"/>
            <ac:spMk id="2" creationId="{00000000-0000-0000-0000-000000000000}"/>
          </ac:spMkLst>
        </pc:spChg>
      </pc:sldChg>
      <pc:sldChg chg="modSp add mod">
        <pc:chgData name="DE JONG, Ruud" userId="067c1632-da17-4d72-b76b-09c00f747912" providerId="ADAL" clId="{22DF285A-C8BC-4B0D-A66D-1830FE0E492E}" dt="2022-11-25T09:45:42.071" v="3205" actId="20577"/>
        <pc:sldMkLst>
          <pc:docMk/>
          <pc:sldMk cId="4193543530" sldId="1175"/>
        </pc:sldMkLst>
        <pc:spChg chg="mod">
          <ac:chgData name="DE JONG, Ruud" userId="067c1632-da17-4d72-b76b-09c00f747912" providerId="ADAL" clId="{22DF285A-C8BC-4B0D-A66D-1830FE0E492E}" dt="2022-11-25T09:31:01.600" v="2122" actId="20577"/>
          <ac:spMkLst>
            <pc:docMk/>
            <pc:sldMk cId="4193543530" sldId="1175"/>
            <ac:spMk id="3" creationId="{E1F9D801-434D-4FD6-A38C-A6C187DD7E2B}"/>
          </ac:spMkLst>
        </pc:spChg>
        <pc:spChg chg="mod">
          <ac:chgData name="DE JONG, Ruud" userId="067c1632-da17-4d72-b76b-09c00f747912" providerId="ADAL" clId="{22DF285A-C8BC-4B0D-A66D-1830FE0E492E}" dt="2022-11-25T09:45:42.071" v="3205" actId="20577"/>
          <ac:spMkLst>
            <pc:docMk/>
            <pc:sldMk cId="4193543530" sldId="1175"/>
            <ac:spMk id="4" creationId="{15E659B3-EA4B-405E-9FAE-00661F32418F}"/>
          </ac:spMkLst>
        </pc:spChg>
      </pc:sldChg>
      <pc:sldChg chg="modSp add del mod">
        <pc:chgData name="DE JONG, Ruud" userId="067c1632-da17-4d72-b76b-09c00f747912" providerId="ADAL" clId="{22DF285A-C8BC-4B0D-A66D-1830FE0E492E}" dt="2022-11-24T20:16:28.509" v="1712" actId="47"/>
        <pc:sldMkLst>
          <pc:docMk/>
          <pc:sldMk cId="4229236938" sldId="1175"/>
        </pc:sldMkLst>
        <pc:spChg chg="mod">
          <ac:chgData name="DE JONG, Ruud" userId="067c1632-da17-4d72-b76b-09c00f747912" providerId="ADAL" clId="{22DF285A-C8BC-4B0D-A66D-1830FE0E492E}" dt="2022-11-24T20:16:18.446" v="1711" actId="20577"/>
          <ac:spMkLst>
            <pc:docMk/>
            <pc:sldMk cId="4229236938" sldId="1175"/>
            <ac:spMk id="2" creationId="{00000000-0000-0000-0000-000000000000}"/>
          </ac:spMkLst>
        </pc:spChg>
      </pc:sldChg>
      <pc:sldChg chg="add del">
        <pc:chgData name="DE JONG, Ruud" userId="067c1632-da17-4d72-b76b-09c00f747912" providerId="ADAL" clId="{22DF285A-C8BC-4B0D-A66D-1830FE0E492E}" dt="2022-11-25T09:31:29.132" v="2127" actId="47"/>
        <pc:sldMkLst>
          <pc:docMk/>
          <pc:sldMk cId="2047327480" sldId="1176"/>
        </pc:sldMkLst>
      </pc:sldChg>
      <pc:sldChg chg="modSp add mod ord">
        <pc:chgData name="DE JONG, Ruud" userId="067c1632-da17-4d72-b76b-09c00f747912" providerId="ADAL" clId="{22DF285A-C8BC-4B0D-A66D-1830FE0E492E}" dt="2022-12-08T16:07:58.191" v="10663" actId="20577"/>
        <pc:sldMkLst>
          <pc:docMk/>
          <pc:sldMk cId="853944295" sldId="1177"/>
        </pc:sldMkLst>
        <pc:spChg chg="mod">
          <ac:chgData name="DE JONG, Ruud" userId="067c1632-da17-4d72-b76b-09c00f747912" providerId="ADAL" clId="{22DF285A-C8BC-4B0D-A66D-1830FE0E492E}" dt="2022-11-25T09:43:58.609" v="3128" actId="20577"/>
          <ac:spMkLst>
            <pc:docMk/>
            <pc:sldMk cId="853944295" sldId="1177"/>
            <ac:spMk id="2" creationId="{00000000-0000-0000-0000-000000000000}"/>
          </ac:spMkLst>
        </pc:spChg>
        <pc:spChg chg="mod">
          <ac:chgData name="DE JONG, Ruud" userId="067c1632-da17-4d72-b76b-09c00f747912" providerId="ADAL" clId="{22DF285A-C8BC-4B0D-A66D-1830FE0E492E}" dt="2022-12-08T16:07:58.191" v="10663" actId="20577"/>
          <ac:spMkLst>
            <pc:docMk/>
            <pc:sldMk cId="853944295" sldId="1177"/>
            <ac:spMk id="3" creationId="{00000000-0000-0000-0000-000000000000}"/>
          </ac:spMkLst>
        </pc:spChg>
      </pc:sldChg>
      <pc:sldChg chg="modSp add mod ord">
        <pc:chgData name="DE JONG, Ruud" userId="067c1632-da17-4d72-b76b-09c00f747912" providerId="ADAL" clId="{22DF285A-C8BC-4B0D-A66D-1830FE0E492E}" dt="2022-11-25T10:11:04.002" v="3677"/>
        <pc:sldMkLst>
          <pc:docMk/>
          <pc:sldMk cId="689688971" sldId="1178"/>
        </pc:sldMkLst>
        <pc:spChg chg="mod">
          <ac:chgData name="DE JONG, Ruud" userId="067c1632-da17-4d72-b76b-09c00f747912" providerId="ADAL" clId="{22DF285A-C8BC-4B0D-A66D-1830FE0E492E}" dt="2022-11-25T09:47:10.929" v="3226" actId="20577"/>
          <ac:spMkLst>
            <pc:docMk/>
            <pc:sldMk cId="689688971" sldId="1178"/>
            <ac:spMk id="2" creationId="{00000000-0000-0000-0000-000000000000}"/>
          </ac:spMkLst>
        </pc:spChg>
        <pc:spChg chg="mod">
          <ac:chgData name="DE JONG, Ruud" userId="067c1632-da17-4d72-b76b-09c00f747912" providerId="ADAL" clId="{22DF285A-C8BC-4B0D-A66D-1830FE0E492E}" dt="2022-11-25T10:10:56.682" v="3675" actId="20577"/>
          <ac:spMkLst>
            <pc:docMk/>
            <pc:sldMk cId="689688971" sldId="1178"/>
            <ac:spMk id="3" creationId="{00000000-0000-0000-0000-000000000000}"/>
          </ac:spMkLst>
        </pc:spChg>
      </pc:sldChg>
      <pc:sldChg chg="modSp add mod">
        <pc:chgData name="DE JONG, Ruud" userId="067c1632-da17-4d72-b76b-09c00f747912" providerId="ADAL" clId="{22DF285A-C8BC-4B0D-A66D-1830FE0E492E}" dt="2022-12-15T14:23:06.197" v="30871" actId="114"/>
        <pc:sldMkLst>
          <pc:docMk/>
          <pc:sldMk cId="4052616655" sldId="1179"/>
        </pc:sldMkLst>
        <pc:spChg chg="mod">
          <ac:chgData name="DE JONG, Ruud" userId="067c1632-da17-4d72-b76b-09c00f747912" providerId="ADAL" clId="{22DF285A-C8BC-4B0D-A66D-1830FE0E492E}" dt="2022-11-25T10:13:04.082" v="3697" actId="20577"/>
          <ac:spMkLst>
            <pc:docMk/>
            <pc:sldMk cId="4052616655" sldId="1179"/>
            <ac:spMk id="2" creationId="{00000000-0000-0000-0000-000000000000}"/>
          </ac:spMkLst>
        </pc:spChg>
        <pc:spChg chg="mod">
          <ac:chgData name="DE JONG, Ruud" userId="067c1632-da17-4d72-b76b-09c00f747912" providerId="ADAL" clId="{22DF285A-C8BC-4B0D-A66D-1830FE0E492E}" dt="2022-12-15T14:23:06.197" v="30871" actId="114"/>
          <ac:spMkLst>
            <pc:docMk/>
            <pc:sldMk cId="4052616655" sldId="1179"/>
            <ac:spMk id="3" creationId="{00000000-0000-0000-0000-000000000000}"/>
          </ac:spMkLst>
        </pc:spChg>
      </pc:sldChg>
      <pc:sldChg chg="modSp add mod">
        <pc:chgData name="DE JONG, Ruud" userId="067c1632-da17-4d72-b76b-09c00f747912" providerId="ADAL" clId="{22DF285A-C8BC-4B0D-A66D-1830FE0E492E}" dt="2022-12-14T16:00:37.612" v="29108" actId="27636"/>
        <pc:sldMkLst>
          <pc:docMk/>
          <pc:sldMk cId="1157092029" sldId="1180"/>
        </pc:sldMkLst>
        <pc:spChg chg="mod">
          <ac:chgData name="DE JONG, Ruud" userId="067c1632-da17-4d72-b76b-09c00f747912" providerId="ADAL" clId="{22DF285A-C8BC-4B0D-A66D-1830FE0E492E}" dt="2022-11-25T10:35:04.710" v="4496" actId="20577"/>
          <ac:spMkLst>
            <pc:docMk/>
            <pc:sldMk cId="1157092029" sldId="1180"/>
            <ac:spMk id="2" creationId="{00000000-0000-0000-0000-000000000000}"/>
          </ac:spMkLst>
        </pc:spChg>
        <pc:spChg chg="mod">
          <ac:chgData name="DE JONG, Ruud" userId="067c1632-da17-4d72-b76b-09c00f747912" providerId="ADAL" clId="{22DF285A-C8BC-4B0D-A66D-1830FE0E492E}" dt="2022-12-14T16:00:37.612" v="29108" actId="27636"/>
          <ac:spMkLst>
            <pc:docMk/>
            <pc:sldMk cId="1157092029" sldId="1180"/>
            <ac:spMk id="3" creationId="{00000000-0000-0000-0000-000000000000}"/>
          </ac:spMkLst>
        </pc:spChg>
      </pc:sldChg>
      <pc:sldChg chg="addSp delSp modSp add mod ord modClrScheme chgLayout">
        <pc:chgData name="DE JONG, Ruud" userId="067c1632-da17-4d72-b76b-09c00f747912" providerId="ADAL" clId="{22DF285A-C8BC-4B0D-A66D-1830FE0E492E}" dt="2022-11-25T13:00:36.492" v="7415" actId="14100"/>
        <pc:sldMkLst>
          <pc:docMk/>
          <pc:sldMk cId="3949155038" sldId="1181"/>
        </pc:sldMkLst>
        <pc:spChg chg="mod ord">
          <ac:chgData name="DE JONG, Ruud" userId="067c1632-da17-4d72-b76b-09c00f747912" providerId="ADAL" clId="{22DF285A-C8BC-4B0D-A66D-1830FE0E492E}" dt="2022-11-25T10:58:38.530" v="5245" actId="700"/>
          <ac:spMkLst>
            <pc:docMk/>
            <pc:sldMk cId="3949155038" sldId="1181"/>
            <ac:spMk id="2" creationId="{00000000-0000-0000-0000-000000000000}"/>
          </ac:spMkLst>
        </pc:spChg>
        <pc:spChg chg="del mod ord">
          <ac:chgData name="DE JONG, Ruud" userId="067c1632-da17-4d72-b76b-09c00f747912" providerId="ADAL" clId="{22DF285A-C8BC-4B0D-A66D-1830FE0E492E}" dt="2022-11-25T10:58:38.530" v="5245" actId="700"/>
          <ac:spMkLst>
            <pc:docMk/>
            <pc:sldMk cId="3949155038" sldId="1181"/>
            <ac:spMk id="3" creationId="{00000000-0000-0000-0000-000000000000}"/>
          </ac:spMkLst>
        </pc:spChg>
        <pc:spChg chg="add mod ord">
          <ac:chgData name="DE JONG, Ruud" userId="067c1632-da17-4d72-b76b-09c00f747912" providerId="ADAL" clId="{22DF285A-C8BC-4B0D-A66D-1830FE0E492E}" dt="2022-11-25T12:54:17.695" v="7288" actId="20577"/>
          <ac:spMkLst>
            <pc:docMk/>
            <pc:sldMk cId="3949155038" sldId="1181"/>
            <ac:spMk id="4" creationId="{3151A90E-8C8C-465F-9C01-94814CDC04E0}"/>
          </ac:spMkLst>
        </pc:spChg>
        <pc:spChg chg="add mod ord">
          <ac:chgData name="DE JONG, Ruud" userId="067c1632-da17-4d72-b76b-09c00f747912" providerId="ADAL" clId="{22DF285A-C8BC-4B0D-A66D-1830FE0E492E}" dt="2022-11-25T11:13:15.907" v="6009" actId="403"/>
          <ac:spMkLst>
            <pc:docMk/>
            <pc:sldMk cId="3949155038" sldId="1181"/>
            <ac:spMk id="5" creationId="{448EA442-98F2-4A09-B4F8-C4C56B2AB2BB}"/>
          </ac:spMkLst>
        </pc:spChg>
        <pc:spChg chg="add mod ord">
          <ac:chgData name="DE JONG, Ruud" userId="067c1632-da17-4d72-b76b-09c00f747912" providerId="ADAL" clId="{22DF285A-C8BC-4B0D-A66D-1830FE0E492E}" dt="2022-11-25T11:13:12.661" v="6007" actId="403"/>
          <ac:spMkLst>
            <pc:docMk/>
            <pc:sldMk cId="3949155038" sldId="1181"/>
            <ac:spMk id="6" creationId="{C232EA16-3069-45C4-8300-BCDB03E17B81}"/>
          </ac:spMkLst>
        </pc:spChg>
        <pc:spChg chg="add mod ord">
          <ac:chgData name="DE JONG, Ruud" userId="067c1632-da17-4d72-b76b-09c00f747912" providerId="ADAL" clId="{22DF285A-C8BC-4B0D-A66D-1830FE0E492E}" dt="2022-11-25T13:00:36.492" v="7415" actId="14100"/>
          <ac:spMkLst>
            <pc:docMk/>
            <pc:sldMk cId="3949155038" sldId="1181"/>
            <ac:spMk id="7" creationId="{99C09F29-11E3-4653-8CBC-34882357920B}"/>
          </ac:spMkLst>
        </pc:spChg>
      </pc:sldChg>
      <pc:sldChg chg="modSp add del mod">
        <pc:chgData name="DE JONG, Ruud" userId="067c1632-da17-4d72-b76b-09c00f747912" providerId="ADAL" clId="{22DF285A-C8BC-4B0D-A66D-1830FE0E492E}" dt="2022-11-25T13:04:35.696" v="7417" actId="47"/>
        <pc:sldMkLst>
          <pc:docMk/>
          <pc:sldMk cId="2144380072" sldId="1182"/>
        </pc:sldMkLst>
        <pc:spChg chg="mod">
          <ac:chgData name="DE JONG, Ruud" userId="067c1632-da17-4d72-b76b-09c00f747912" providerId="ADAL" clId="{22DF285A-C8BC-4B0D-A66D-1830FE0E492E}" dt="2022-11-25T12:24:28.472" v="6395" actId="20577"/>
          <ac:spMkLst>
            <pc:docMk/>
            <pc:sldMk cId="2144380072" sldId="1182"/>
            <ac:spMk id="2" creationId="{00000000-0000-0000-0000-000000000000}"/>
          </ac:spMkLst>
        </pc:spChg>
        <pc:spChg chg="mod">
          <ac:chgData name="DE JONG, Ruud" userId="067c1632-da17-4d72-b76b-09c00f747912" providerId="ADAL" clId="{22DF285A-C8BC-4B0D-A66D-1830FE0E492E}" dt="2022-11-25T12:31:55.965" v="6774" actId="108"/>
          <ac:spMkLst>
            <pc:docMk/>
            <pc:sldMk cId="2144380072" sldId="1182"/>
            <ac:spMk id="3" creationId="{00000000-0000-0000-0000-000000000000}"/>
          </ac:spMkLst>
        </pc:spChg>
      </pc:sldChg>
      <pc:sldChg chg="modSp add mod">
        <pc:chgData name="DE JONG, Ruud" userId="067c1632-da17-4d72-b76b-09c00f747912" providerId="ADAL" clId="{22DF285A-C8BC-4B0D-A66D-1830FE0E492E}" dt="2022-11-25T12:38:13.578" v="7250" actId="108"/>
        <pc:sldMkLst>
          <pc:docMk/>
          <pc:sldMk cId="4164888000" sldId="1183"/>
        </pc:sldMkLst>
        <pc:spChg chg="mod">
          <ac:chgData name="DE JONG, Ruud" userId="067c1632-da17-4d72-b76b-09c00f747912" providerId="ADAL" clId="{22DF285A-C8BC-4B0D-A66D-1830FE0E492E}" dt="2022-11-25T12:33:30.838" v="6825" actId="20577"/>
          <ac:spMkLst>
            <pc:docMk/>
            <pc:sldMk cId="4164888000" sldId="1183"/>
            <ac:spMk id="2" creationId="{00000000-0000-0000-0000-000000000000}"/>
          </ac:spMkLst>
        </pc:spChg>
        <pc:spChg chg="mod">
          <ac:chgData name="DE JONG, Ruud" userId="067c1632-da17-4d72-b76b-09c00f747912" providerId="ADAL" clId="{22DF285A-C8BC-4B0D-A66D-1830FE0E492E}" dt="2022-11-25T12:38:13.578" v="7250" actId="108"/>
          <ac:spMkLst>
            <pc:docMk/>
            <pc:sldMk cId="4164888000" sldId="1183"/>
            <ac:spMk id="3" creationId="{00000000-0000-0000-0000-000000000000}"/>
          </ac:spMkLst>
        </pc:spChg>
      </pc:sldChg>
      <pc:sldChg chg="modSp add mod">
        <pc:chgData name="DE JONG, Ruud" userId="067c1632-da17-4d72-b76b-09c00f747912" providerId="ADAL" clId="{22DF285A-C8BC-4B0D-A66D-1830FE0E492E}" dt="2022-11-25T12:53:14.215" v="7277" actId="20577"/>
        <pc:sldMkLst>
          <pc:docMk/>
          <pc:sldMk cId="3723680507" sldId="1184"/>
        </pc:sldMkLst>
        <pc:spChg chg="mod">
          <ac:chgData name="DE JONG, Ruud" userId="067c1632-da17-4d72-b76b-09c00f747912" providerId="ADAL" clId="{22DF285A-C8BC-4B0D-A66D-1830FE0E492E}" dt="2022-11-25T12:53:04.434" v="7254" actId="20577"/>
          <ac:spMkLst>
            <pc:docMk/>
            <pc:sldMk cId="3723680507" sldId="1184"/>
            <ac:spMk id="3" creationId="{E1F9D801-434D-4FD6-A38C-A6C187DD7E2B}"/>
          </ac:spMkLst>
        </pc:spChg>
        <pc:spChg chg="mod">
          <ac:chgData name="DE JONG, Ruud" userId="067c1632-da17-4d72-b76b-09c00f747912" providerId="ADAL" clId="{22DF285A-C8BC-4B0D-A66D-1830FE0E492E}" dt="2022-11-25T12:53:14.215" v="7277" actId="20577"/>
          <ac:spMkLst>
            <pc:docMk/>
            <pc:sldMk cId="3723680507" sldId="1184"/>
            <ac:spMk id="4" creationId="{15E659B3-EA4B-405E-9FAE-00661F32418F}"/>
          </ac:spMkLst>
        </pc:spChg>
      </pc:sldChg>
      <pc:sldChg chg="modSp add mod">
        <pc:chgData name="DE JONG, Ruud" userId="067c1632-da17-4d72-b76b-09c00f747912" providerId="ADAL" clId="{22DF285A-C8BC-4B0D-A66D-1830FE0E492E}" dt="2022-12-14T15:11:55.803" v="27716" actId="255"/>
        <pc:sldMkLst>
          <pc:docMk/>
          <pc:sldMk cId="337828216" sldId="1185"/>
        </pc:sldMkLst>
        <pc:spChg chg="mod">
          <ac:chgData name="DE JONG, Ruud" userId="067c1632-da17-4d72-b76b-09c00f747912" providerId="ADAL" clId="{22DF285A-C8BC-4B0D-A66D-1830FE0E492E}" dt="2022-12-14T15:11:55.803" v="27716" actId="255"/>
          <ac:spMkLst>
            <pc:docMk/>
            <pc:sldMk cId="337828216" sldId="1185"/>
            <ac:spMk id="3" creationId="{00000000-0000-0000-0000-000000000000}"/>
          </ac:spMkLst>
        </pc:spChg>
      </pc:sldChg>
      <pc:sldChg chg="modSp add mod">
        <pc:chgData name="DE JONG, Ruud" userId="067c1632-da17-4d72-b76b-09c00f747912" providerId="ADAL" clId="{22DF285A-C8BC-4B0D-A66D-1830FE0E492E}" dt="2022-11-25T13:07:09.204" v="7787" actId="108"/>
        <pc:sldMkLst>
          <pc:docMk/>
          <pc:sldMk cId="3924941734" sldId="1186"/>
        </pc:sldMkLst>
        <pc:spChg chg="mod">
          <ac:chgData name="DE JONG, Ruud" userId="067c1632-da17-4d72-b76b-09c00f747912" providerId="ADAL" clId="{22DF285A-C8BC-4B0D-A66D-1830FE0E492E}" dt="2022-11-25T13:04:53.476" v="7440" actId="20577"/>
          <ac:spMkLst>
            <pc:docMk/>
            <pc:sldMk cId="3924941734" sldId="1186"/>
            <ac:spMk id="2" creationId="{00000000-0000-0000-0000-000000000000}"/>
          </ac:spMkLst>
        </pc:spChg>
        <pc:spChg chg="mod">
          <ac:chgData name="DE JONG, Ruud" userId="067c1632-da17-4d72-b76b-09c00f747912" providerId="ADAL" clId="{22DF285A-C8BC-4B0D-A66D-1830FE0E492E}" dt="2022-11-25T13:07:09.204" v="7787" actId="108"/>
          <ac:spMkLst>
            <pc:docMk/>
            <pc:sldMk cId="3924941734" sldId="1186"/>
            <ac:spMk id="3" creationId="{00000000-0000-0000-0000-000000000000}"/>
          </ac:spMkLst>
        </pc:spChg>
      </pc:sldChg>
      <pc:sldChg chg="add del">
        <pc:chgData name="DE JONG, Ruud" userId="067c1632-da17-4d72-b76b-09c00f747912" providerId="ADAL" clId="{22DF285A-C8BC-4B0D-A66D-1830FE0E492E}" dt="2022-11-25T16:02:28.520" v="10216" actId="47"/>
        <pc:sldMkLst>
          <pc:docMk/>
          <pc:sldMk cId="1970507714" sldId="1187"/>
        </pc:sldMkLst>
      </pc:sldChg>
      <pc:sldChg chg="delSp modSp del mod">
        <pc:chgData name="DE JONG, Ruud" userId="067c1632-da17-4d72-b76b-09c00f747912" providerId="ADAL" clId="{22DF285A-C8BC-4B0D-A66D-1830FE0E492E}" dt="2022-11-25T14:13:16.013" v="9207" actId="47"/>
        <pc:sldMkLst>
          <pc:docMk/>
          <pc:sldMk cId="2009043705" sldId="1188"/>
        </pc:sldMkLst>
        <pc:spChg chg="del mod">
          <ac:chgData name="DE JONG, Ruud" userId="067c1632-da17-4d72-b76b-09c00f747912" providerId="ADAL" clId="{22DF285A-C8BC-4B0D-A66D-1830FE0E492E}" dt="2022-11-25T13:57:45.308" v="8847" actId="478"/>
          <ac:spMkLst>
            <pc:docMk/>
            <pc:sldMk cId="2009043705" sldId="1188"/>
            <ac:spMk id="5" creationId="{B262B862-778D-4A03-A30E-0E093A46F687}"/>
          </ac:spMkLst>
        </pc:spChg>
        <pc:spChg chg="mod">
          <ac:chgData name="DE JONG, Ruud" userId="067c1632-da17-4d72-b76b-09c00f747912" providerId="ADAL" clId="{22DF285A-C8BC-4B0D-A66D-1830FE0E492E}" dt="2022-11-25T14:02:56.554" v="9178" actId="20577"/>
          <ac:spMkLst>
            <pc:docMk/>
            <pc:sldMk cId="2009043705" sldId="1188"/>
            <ac:spMk id="8" creationId="{B3DA6FE9-9D47-4210-BCCF-4309DE4117B1}"/>
          </ac:spMkLst>
        </pc:spChg>
      </pc:sldChg>
      <pc:sldChg chg="addSp delSp modSp add mod delAnim modAnim">
        <pc:chgData name="DE JONG, Ruud" userId="067c1632-da17-4d72-b76b-09c00f747912" providerId="ADAL" clId="{22DF285A-C8BC-4B0D-A66D-1830FE0E492E}" dt="2022-12-08T16:15:03.075" v="10667" actId="478"/>
        <pc:sldMkLst>
          <pc:docMk/>
          <pc:sldMk cId="3773628535" sldId="1189"/>
        </pc:sldMkLst>
        <pc:spChg chg="mod">
          <ac:chgData name="DE JONG, Ruud" userId="067c1632-da17-4d72-b76b-09c00f747912" providerId="ADAL" clId="{22DF285A-C8BC-4B0D-A66D-1830FE0E492E}" dt="2022-11-25T14:08:02.311" v="9181" actId="12"/>
          <ac:spMkLst>
            <pc:docMk/>
            <pc:sldMk cId="3773628535" sldId="1189"/>
            <ac:spMk id="8" creationId="{B3DA6FE9-9D47-4210-BCCF-4309DE4117B1}"/>
          </ac:spMkLst>
        </pc:spChg>
        <pc:picChg chg="add del mod">
          <ac:chgData name="DE JONG, Ruud" userId="067c1632-da17-4d72-b76b-09c00f747912" providerId="ADAL" clId="{22DF285A-C8BC-4B0D-A66D-1830FE0E492E}" dt="2022-12-08T16:15:03.075" v="10667" actId="478"/>
          <ac:picMkLst>
            <pc:docMk/>
            <pc:sldMk cId="3773628535" sldId="1189"/>
            <ac:picMk id="4" creationId="{DFCD84ED-5145-4872-B7B7-24777A5103BD}"/>
          </ac:picMkLst>
        </pc:picChg>
      </pc:sldChg>
      <pc:sldChg chg="delSp modSp add mod delAnim">
        <pc:chgData name="DE JONG, Ruud" userId="067c1632-da17-4d72-b76b-09c00f747912" providerId="ADAL" clId="{22DF285A-C8BC-4B0D-A66D-1830FE0E492E}" dt="2022-12-08T16:30:36.407" v="11279" actId="478"/>
        <pc:sldMkLst>
          <pc:docMk/>
          <pc:sldMk cId="1876483561" sldId="1190"/>
        </pc:sldMkLst>
        <pc:spChg chg="mod">
          <ac:chgData name="DE JONG, Ruud" userId="067c1632-da17-4d72-b76b-09c00f747912" providerId="ADAL" clId="{22DF285A-C8BC-4B0D-A66D-1830FE0E492E}" dt="2022-11-25T15:06:47.188" v="9745" actId="20577"/>
          <ac:spMkLst>
            <pc:docMk/>
            <pc:sldMk cId="1876483561" sldId="1190"/>
            <ac:spMk id="2" creationId="{00000000-0000-0000-0000-000000000000}"/>
          </ac:spMkLst>
        </pc:spChg>
        <pc:spChg chg="mod">
          <ac:chgData name="DE JONG, Ruud" userId="067c1632-da17-4d72-b76b-09c00f747912" providerId="ADAL" clId="{22DF285A-C8BC-4B0D-A66D-1830FE0E492E}" dt="2022-11-25T15:15:17.520" v="9908"/>
          <ac:spMkLst>
            <pc:docMk/>
            <pc:sldMk cId="1876483561" sldId="1190"/>
            <ac:spMk id="5" creationId="{B262B862-778D-4A03-A30E-0E093A46F687}"/>
          </ac:spMkLst>
        </pc:spChg>
        <pc:spChg chg="mod">
          <ac:chgData name="DE JONG, Ruud" userId="067c1632-da17-4d72-b76b-09c00f747912" providerId="ADAL" clId="{22DF285A-C8BC-4B0D-A66D-1830FE0E492E}" dt="2022-11-25T15:09:34.822" v="9890"/>
          <ac:spMkLst>
            <pc:docMk/>
            <pc:sldMk cId="1876483561" sldId="1190"/>
            <ac:spMk id="8" creationId="{B3DA6FE9-9D47-4210-BCCF-4309DE4117B1}"/>
          </ac:spMkLst>
        </pc:spChg>
        <pc:picChg chg="del mod">
          <ac:chgData name="DE JONG, Ruud" userId="067c1632-da17-4d72-b76b-09c00f747912" providerId="ADAL" clId="{22DF285A-C8BC-4B0D-A66D-1830FE0E492E}" dt="2022-12-08T16:30:36.407" v="11279" actId="478"/>
          <ac:picMkLst>
            <pc:docMk/>
            <pc:sldMk cId="1876483561" sldId="1190"/>
            <ac:picMk id="6" creationId="{AB2A821E-C782-4137-A3F4-5DB76260AEA8}"/>
          </ac:picMkLst>
        </pc:picChg>
      </pc:sldChg>
      <pc:sldChg chg="delSp modSp add mod delAnim">
        <pc:chgData name="DE JONG, Ruud" userId="067c1632-da17-4d72-b76b-09c00f747912" providerId="ADAL" clId="{22DF285A-C8BC-4B0D-A66D-1830FE0E492E}" dt="2022-12-08T16:31:47.971" v="11286" actId="478"/>
        <pc:sldMkLst>
          <pc:docMk/>
          <pc:sldMk cId="2411096631" sldId="1191"/>
        </pc:sldMkLst>
        <pc:spChg chg="mod">
          <ac:chgData name="DE JONG, Ruud" userId="067c1632-da17-4d72-b76b-09c00f747912" providerId="ADAL" clId="{22DF285A-C8BC-4B0D-A66D-1830FE0E492E}" dt="2022-11-25T15:16:27.293" v="9911" actId="20577"/>
          <ac:spMkLst>
            <pc:docMk/>
            <pc:sldMk cId="2411096631" sldId="1191"/>
            <ac:spMk id="2" creationId="{00000000-0000-0000-0000-000000000000}"/>
          </ac:spMkLst>
        </pc:spChg>
        <pc:spChg chg="mod">
          <ac:chgData name="DE JONG, Ruud" userId="067c1632-da17-4d72-b76b-09c00f747912" providerId="ADAL" clId="{22DF285A-C8BC-4B0D-A66D-1830FE0E492E}" dt="2022-11-25T15:23:21.780" v="10101" actId="108"/>
          <ac:spMkLst>
            <pc:docMk/>
            <pc:sldMk cId="2411096631" sldId="1191"/>
            <ac:spMk id="8" creationId="{B3DA6FE9-9D47-4210-BCCF-4309DE4117B1}"/>
          </ac:spMkLst>
        </pc:spChg>
        <pc:picChg chg="del mod">
          <ac:chgData name="DE JONG, Ruud" userId="067c1632-da17-4d72-b76b-09c00f747912" providerId="ADAL" clId="{22DF285A-C8BC-4B0D-A66D-1830FE0E492E}" dt="2022-12-08T16:31:47.971" v="11286" actId="478"/>
          <ac:picMkLst>
            <pc:docMk/>
            <pc:sldMk cId="2411096631" sldId="1191"/>
            <ac:picMk id="6" creationId="{AB2A821E-C782-4137-A3F4-5DB76260AEA8}"/>
          </ac:picMkLst>
        </pc:picChg>
      </pc:sldChg>
      <pc:sldChg chg="modSp add mod">
        <pc:chgData name="DE JONG, Ruud" userId="067c1632-da17-4d72-b76b-09c00f747912" providerId="ADAL" clId="{22DF285A-C8BC-4B0D-A66D-1830FE0E492E}" dt="2022-12-13T12:47:42.963" v="20826" actId="20577"/>
        <pc:sldMkLst>
          <pc:docMk/>
          <pc:sldMk cId="3629623893" sldId="1192"/>
        </pc:sldMkLst>
        <pc:spChg chg="mod">
          <ac:chgData name="DE JONG, Ruud" userId="067c1632-da17-4d72-b76b-09c00f747912" providerId="ADAL" clId="{22DF285A-C8BC-4B0D-A66D-1830FE0E492E}" dt="2022-11-25T16:07:18.782" v="10257" actId="20577"/>
          <ac:spMkLst>
            <pc:docMk/>
            <pc:sldMk cId="3629623893" sldId="1192"/>
            <ac:spMk id="3" creationId="{E1F9D801-434D-4FD6-A38C-A6C187DD7E2B}"/>
          </ac:spMkLst>
        </pc:spChg>
        <pc:spChg chg="mod">
          <ac:chgData name="DE JONG, Ruud" userId="067c1632-da17-4d72-b76b-09c00f747912" providerId="ADAL" clId="{22DF285A-C8BC-4B0D-A66D-1830FE0E492E}" dt="2022-12-13T12:47:42.963" v="20826" actId="20577"/>
          <ac:spMkLst>
            <pc:docMk/>
            <pc:sldMk cId="3629623893" sldId="1192"/>
            <ac:spMk id="4" creationId="{15E659B3-EA4B-405E-9FAE-00661F32418F}"/>
          </ac:spMkLst>
        </pc:spChg>
      </pc:sldChg>
      <pc:sldChg chg="add del">
        <pc:chgData name="DE JONG, Ruud" userId="067c1632-da17-4d72-b76b-09c00f747912" providerId="ADAL" clId="{22DF285A-C8BC-4B0D-A66D-1830FE0E492E}" dt="2022-12-08T16:07:45.290" v="10658" actId="47"/>
        <pc:sldMkLst>
          <pc:docMk/>
          <pc:sldMk cId="171277792" sldId="1193"/>
        </pc:sldMkLst>
      </pc:sldChg>
      <pc:sldChg chg="del">
        <pc:chgData name="DE JONG, Ruud" userId="067c1632-da17-4d72-b76b-09c00f747912" providerId="ADAL" clId="{22DF285A-C8BC-4B0D-A66D-1830FE0E492E}" dt="2022-12-08T16:08:54.387" v="10664" actId="47"/>
        <pc:sldMkLst>
          <pc:docMk/>
          <pc:sldMk cId="172213613" sldId="1194"/>
        </pc:sldMkLst>
      </pc:sldChg>
      <pc:sldChg chg="addSp delSp modSp mod">
        <pc:chgData name="DE JONG, Ruud" userId="067c1632-da17-4d72-b76b-09c00f747912" providerId="ADAL" clId="{22DF285A-C8BC-4B0D-A66D-1830FE0E492E}" dt="2022-12-14T15:29:54.150" v="28619" actId="14100"/>
        <pc:sldMkLst>
          <pc:docMk/>
          <pc:sldMk cId="3218571231" sldId="1195"/>
        </pc:sldMkLst>
        <pc:spChg chg="mod">
          <ac:chgData name="DE JONG, Ruud" userId="067c1632-da17-4d72-b76b-09c00f747912" providerId="ADAL" clId="{22DF285A-C8BC-4B0D-A66D-1830FE0E492E}" dt="2022-12-14T15:28:35.464" v="28607" actId="20577"/>
          <ac:spMkLst>
            <pc:docMk/>
            <pc:sldMk cId="3218571231" sldId="1195"/>
            <ac:spMk id="19" creationId="{00000000-0000-0000-0000-000000000000}"/>
          </ac:spMkLst>
        </pc:spChg>
        <pc:spChg chg="mod">
          <ac:chgData name="DE JONG, Ruud" userId="067c1632-da17-4d72-b76b-09c00f747912" providerId="ADAL" clId="{22DF285A-C8BC-4B0D-A66D-1830FE0E492E}" dt="2022-12-14T15:28:42.707" v="28608" actId="1038"/>
          <ac:spMkLst>
            <pc:docMk/>
            <pc:sldMk cId="3218571231" sldId="1195"/>
            <ac:spMk id="21" creationId="{00000000-0000-0000-0000-000000000000}"/>
          </ac:spMkLst>
        </pc:spChg>
        <pc:spChg chg="mod">
          <ac:chgData name="DE JONG, Ruud" userId="067c1632-da17-4d72-b76b-09c00f747912" providerId="ADAL" clId="{22DF285A-C8BC-4B0D-A66D-1830FE0E492E}" dt="2022-12-14T15:28:44.073" v="28609" actId="1038"/>
          <ac:spMkLst>
            <pc:docMk/>
            <pc:sldMk cId="3218571231" sldId="1195"/>
            <ac:spMk id="22" creationId="{00000000-0000-0000-0000-000000000000}"/>
          </ac:spMkLst>
        </pc:spChg>
        <pc:cxnChg chg="mod">
          <ac:chgData name="DE JONG, Ruud" userId="067c1632-da17-4d72-b76b-09c00f747912" providerId="ADAL" clId="{22DF285A-C8BC-4B0D-A66D-1830FE0E492E}" dt="2022-12-14T15:28:42.707" v="28608" actId="1038"/>
          <ac:cxnSpMkLst>
            <pc:docMk/>
            <pc:sldMk cId="3218571231" sldId="1195"/>
            <ac:cxnSpMk id="20" creationId="{00000000-0000-0000-0000-000000000000}"/>
          </ac:cxnSpMkLst>
        </pc:cxnChg>
        <pc:cxnChg chg="add mod">
          <ac:chgData name="DE JONG, Ruud" userId="067c1632-da17-4d72-b76b-09c00f747912" providerId="ADAL" clId="{22DF285A-C8BC-4B0D-A66D-1830FE0E492E}" dt="2022-12-14T15:29:54.150" v="28619" actId="14100"/>
          <ac:cxnSpMkLst>
            <pc:docMk/>
            <pc:sldMk cId="3218571231" sldId="1195"/>
            <ac:cxnSpMk id="26" creationId="{8597BDC9-CF5E-41AA-9F6F-6BF138AB8487}"/>
          </ac:cxnSpMkLst>
        </pc:cxnChg>
        <pc:cxnChg chg="del mod">
          <ac:chgData name="DE JONG, Ruud" userId="067c1632-da17-4d72-b76b-09c00f747912" providerId="ADAL" clId="{22DF285A-C8BC-4B0D-A66D-1830FE0E492E}" dt="2022-12-14T15:29:41.337" v="28615" actId="478"/>
          <ac:cxnSpMkLst>
            <pc:docMk/>
            <pc:sldMk cId="3218571231" sldId="1195"/>
            <ac:cxnSpMk id="53" creationId="{00000000-0000-0000-0000-000000000000}"/>
          </ac:cxnSpMkLst>
        </pc:cxnChg>
      </pc:sldChg>
      <pc:sldChg chg="addSp delSp modSp add mod delAnim">
        <pc:chgData name="DE JONG, Ruud" userId="067c1632-da17-4d72-b76b-09c00f747912" providerId="ADAL" clId="{22DF285A-C8BC-4B0D-A66D-1830FE0E492E}" dt="2022-12-08T16:17:31.122" v="10763" actId="20577"/>
        <pc:sldMkLst>
          <pc:docMk/>
          <pc:sldMk cId="2575407412" sldId="1197"/>
        </pc:sldMkLst>
        <pc:spChg chg="add mod">
          <ac:chgData name="DE JONG, Ruud" userId="067c1632-da17-4d72-b76b-09c00f747912" providerId="ADAL" clId="{22DF285A-C8BC-4B0D-A66D-1830FE0E492E}" dt="2022-12-08T16:17:31.122" v="10763" actId="20577"/>
          <ac:spMkLst>
            <pc:docMk/>
            <pc:sldMk cId="2575407412" sldId="1197"/>
            <ac:spMk id="3" creationId="{DB797E5E-AF23-4AB6-BDEF-FF8529F0A506}"/>
          </ac:spMkLst>
        </pc:spChg>
        <pc:spChg chg="mod">
          <ac:chgData name="DE JONG, Ruud" userId="067c1632-da17-4d72-b76b-09c00f747912" providerId="ADAL" clId="{22DF285A-C8BC-4B0D-A66D-1830FE0E492E}" dt="2022-12-08T16:17:27.049" v="10756" actId="20577"/>
          <ac:spMkLst>
            <pc:docMk/>
            <pc:sldMk cId="2575407412" sldId="1197"/>
            <ac:spMk id="8" creationId="{B3DA6FE9-9D47-4210-BCCF-4309DE4117B1}"/>
          </ac:spMkLst>
        </pc:spChg>
        <pc:picChg chg="del">
          <ac:chgData name="DE JONG, Ruud" userId="067c1632-da17-4d72-b76b-09c00f747912" providerId="ADAL" clId="{22DF285A-C8BC-4B0D-A66D-1830FE0E492E}" dt="2022-12-08T16:17:04.081" v="10749" actId="478"/>
          <ac:picMkLst>
            <pc:docMk/>
            <pc:sldMk cId="2575407412" sldId="1197"/>
            <ac:picMk id="4" creationId="{DFCD84ED-5145-4872-B7B7-24777A5103BD}"/>
          </ac:picMkLst>
        </pc:picChg>
      </pc:sldChg>
      <pc:sldChg chg="modSp add mod">
        <pc:chgData name="DE JONG, Ruud" userId="067c1632-da17-4d72-b76b-09c00f747912" providerId="ADAL" clId="{22DF285A-C8BC-4B0D-A66D-1830FE0E492E}" dt="2022-12-08T16:20:44.354" v="10846" actId="113"/>
        <pc:sldMkLst>
          <pc:docMk/>
          <pc:sldMk cId="1953251866" sldId="1198"/>
        </pc:sldMkLst>
        <pc:spChg chg="mod">
          <ac:chgData name="DE JONG, Ruud" userId="067c1632-da17-4d72-b76b-09c00f747912" providerId="ADAL" clId="{22DF285A-C8BC-4B0D-A66D-1830FE0E492E}" dt="2022-12-08T16:20:44.354" v="10846" actId="113"/>
          <ac:spMkLst>
            <pc:docMk/>
            <pc:sldMk cId="1953251866" sldId="1198"/>
            <ac:spMk id="8" creationId="{B3DA6FE9-9D47-4210-BCCF-4309DE4117B1}"/>
          </ac:spMkLst>
        </pc:spChg>
      </pc:sldChg>
      <pc:sldChg chg="delSp modSp add mod delAnim">
        <pc:chgData name="DE JONG, Ruud" userId="067c1632-da17-4d72-b76b-09c00f747912" providerId="ADAL" clId="{22DF285A-C8BC-4B0D-A66D-1830FE0E492E}" dt="2022-12-08T16:24:07.571" v="11017" actId="108"/>
        <pc:sldMkLst>
          <pc:docMk/>
          <pc:sldMk cId="479848027" sldId="1199"/>
        </pc:sldMkLst>
        <pc:spChg chg="mod">
          <ac:chgData name="DE JONG, Ruud" userId="067c1632-da17-4d72-b76b-09c00f747912" providerId="ADAL" clId="{22DF285A-C8BC-4B0D-A66D-1830FE0E492E}" dt="2022-12-08T16:24:07.571" v="11017" actId="108"/>
          <ac:spMkLst>
            <pc:docMk/>
            <pc:sldMk cId="479848027" sldId="1199"/>
            <ac:spMk id="8" creationId="{B3DA6FE9-9D47-4210-BCCF-4309DE4117B1}"/>
          </ac:spMkLst>
        </pc:spChg>
        <pc:picChg chg="del">
          <ac:chgData name="DE JONG, Ruud" userId="067c1632-da17-4d72-b76b-09c00f747912" providerId="ADAL" clId="{22DF285A-C8BC-4B0D-A66D-1830FE0E492E}" dt="2022-12-08T16:21:02.689" v="10848" actId="478"/>
          <ac:picMkLst>
            <pc:docMk/>
            <pc:sldMk cId="479848027" sldId="1199"/>
            <ac:picMk id="6" creationId="{35DD4A37-8135-4166-8965-AA6BD3163ADA}"/>
          </ac:picMkLst>
        </pc:picChg>
      </pc:sldChg>
      <pc:sldChg chg="delSp modSp add mod delAnim">
        <pc:chgData name="DE JONG, Ruud" userId="067c1632-da17-4d72-b76b-09c00f747912" providerId="ADAL" clId="{22DF285A-C8BC-4B0D-A66D-1830FE0E492E}" dt="2022-12-08T16:26:15.551" v="11128" actId="108"/>
        <pc:sldMkLst>
          <pc:docMk/>
          <pc:sldMk cId="3241712258" sldId="1200"/>
        </pc:sldMkLst>
        <pc:spChg chg="mod">
          <ac:chgData name="DE JONG, Ruud" userId="067c1632-da17-4d72-b76b-09c00f747912" providerId="ADAL" clId="{22DF285A-C8BC-4B0D-A66D-1830FE0E492E}" dt="2022-12-08T16:26:15.551" v="11128" actId="108"/>
          <ac:spMkLst>
            <pc:docMk/>
            <pc:sldMk cId="3241712258" sldId="1200"/>
            <ac:spMk id="8" creationId="{B3DA6FE9-9D47-4210-BCCF-4309DE4117B1}"/>
          </ac:spMkLst>
        </pc:spChg>
        <pc:picChg chg="del">
          <ac:chgData name="DE JONG, Ruud" userId="067c1632-da17-4d72-b76b-09c00f747912" providerId="ADAL" clId="{22DF285A-C8BC-4B0D-A66D-1830FE0E492E}" dt="2022-12-08T16:25:01.546" v="11022" actId="478"/>
          <ac:picMkLst>
            <pc:docMk/>
            <pc:sldMk cId="3241712258" sldId="1200"/>
            <ac:picMk id="6" creationId="{BDF90E07-1730-44B0-8F1E-817370A42AA7}"/>
          </ac:picMkLst>
        </pc:picChg>
      </pc:sldChg>
      <pc:sldChg chg="add del">
        <pc:chgData name="DE JONG, Ruud" userId="067c1632-da17-4d72-b76b-09c00f747912" providerId="ADAL" clId="{22DF285A-C8BC-4B0D-A66D-1830FE0E492E}" dt="2022-12-08T16:24:33.802" v="11019" actId="2890"/>
        <pc:sldMkLst>
          <pc:docMk/>
          <pc:sldMk cId="3737633050" sldId="1200"/>
        </pc:sldMkLst>
      </pc:sldChg>
      <pc:sldChg chg="delSp modSp add mod delAnim">
        <pc:chgData name="DE JONG, Ruud" userId="067c1632-da17-4d72-b76b-09c00f747912" providerId="ADAL" clId="{22DF285A-C8BC-4B0D-A66D-1830FE0E492E}" dt="2022-12-08T16:29:26.548" v="11277" actId="20577"/>
        <pc:sldMkLst>
          <pc:docMk/>
          <pc:sldMk cId="1851849836" sldId="1201"/>
        </pc:sldMkLst>
        <pc:spChg chg="mod">
          <ac:chgData name="DE JONG, Ruud" userId="067c1632-da17-4d72-b76b-09c00f747912" providerId="ADAL" clId="{22DF285A-C8BC-4B0D-A66D-1830FE0E492E}" dt="2022-12-08T16:29:26.548" v="11277" actId="20577"/>
          <ac:spMkLst>
            <pc:docMk/>
            <pc:sldMk cId="1851849836" sldId="1201"/>
            <ac:spMk id="8" creationId="{B3DA6FE9-9D47-4210-BCCF-4309DE4117B1}"/>
          </ac:spMkLst>
        </pc:spChg>
        <pc:picChg chg="del">
          <ac:chgData name="DE JONG, Ruud" userId="067c1632-da17-4d72-b76b-09c00f747912" providerId="ADAL" clId="{22DF285A-C8BC-4B0D-A66D-1830FE0E492E}" dt="2022-12-08T16:26:40.887" v="11130" actId="478"/>
          <ac:picMkLst>
            <pc:docMk/>
            <pc:sldMk cId="1851849836" sldId="1201"/>
            <ac:picMk id="6" creationId="{AB2A821E-C782-4137-A3F4-5DB76260AEA8}"/>
          </ac:picMkLst>
        </pc:picChg>
      </pc:sldChg>
      <pc:sldChg chg="delSp modSp add mod delAnim">
        <pc:chgData name="DE JONG, Ruud" userId="067c1632-da17-4d72-b76b-09c00f747912" providerId="ADAL" clId="{22DF285A-C8BC-4B0D-A66D-1830FE0E492E}" dt="2022-12-08T16:31:04.006" v="11284" actId="20577"/>
        <pc:sldMkLst>
          <pc:docMk/>
          <pc:sldMk cId="3565326723" sldId="1202"/>
        </pc:sldMkLst>
        <pc:spChg chg="mod">
          <ac:chgData name="DE JONG, Ruud" userId="067c1632-da17-4d72-b76b-09c00f747912" providerId="ADAL" clId="{22DF285A-C8BC-4B0D-A66D-1830FE0E492E}" dt="2022-12-08T16:31:04.006" v="11284" actId="20577"/>
          <ac:spMkLst>
            <pc:docMk/>
            <pc:sldMk cId="3565326723" sldId="1202"/>
            <ac:spMk id="8" creationId="{B3DA6FE9-9D47-4210-BCCF-4309DE4117B1}"/>
          </ac:spMkLst>
        </pc:spChg>
        <pc:picChg chg="del">
          <ac:chgData name="DE JONG, Ruud" userId="067c1632-da17-4d72-b76b-09c00f747912" providerId="ADAL" clId="{22DF285A-C8BC-4B0D-A66D-1830FE0E492E}" dt="2022-12-08T16:30:48.975" v="11280" actId="478"/>
          <ac:picMkLst>
            <pc:docMk/>
            <pc:sldMk cId="3565326723" sldId="1202"/>
            <ac:picMk id="6" creationId="{AB2A821E-C782-4137-A3F4-5DB76260AEA8}"/>
          </ac:picMkLst>
        </pc:picChg>
      </pc:sldChg>
      <pc:sldChg chg="delSp modSp add mod delAnim">
        <pc:chgData name="DE JONG, Ruud" userId="067c1632-da17-4d72-b76b-09c00f747912" providerId="ADAL" clId="{22DF285A-C8BC-4B0D-A66D-1830FE0E492E}" dt="2022-12-08T16:40:34.605" v="11493" actId="20577"/>
        <pc:sldMkLst>
          <pc:docMk/>
          <pc:sldMk cId="3298566265" sldId="1203"/>
        </pc:sldMkLst>
        <pc:spChg chg="mod">
          <ac:chgData name="DE JONG, Ruud" userId="067c1632-da17-4d72-b76b-09c00f747912" providerId="ADAL" clId="{22DF285A-C8BC-4B0D-A66D-1830FE0E492E}" dt="2022-12-08T16:40:34.605" v="11493" actId="20577"/>
          <ac:spMkLst>
            <pc:docMk/>
            <pc:sldMk cId="3298566265" sldId="1203"/>
            <ac:spMk id="8" creationId="{B3DA6FE9-9D47-4210-BCCF-4309DE4117B1}"/>
          </ac:spMkLst>
        </pc:spChg>
        <pc:picChg chg="del">
          <ac:chgData name="DE JONG, Ruud" userId="067c1632-da17-4d72-b76b-09c00f747912" providerId="ADAL" clId="{22DF285A-C8BC-4B0D-A66D-1830FE0E492E}" dt="2022-12-08T16:31:51.810" v="11287" actId="478"/>
          <ac:picMkLst>
            <pc:docMk/>
            <pc:sldMk cId="3298566265" sldId="1203"/>
            <ac:picMk id="6" creationId="{AB2A821E-C782-4137-A3F4-5DB76260AEA8}"/>
          </ac:picMkLst>
        </pc:picChg>
      </pc:sldChg>
      <pc:sldChg chg="modSp add mod">
        <pc:chgData name="DE JONG, Ruud" userId="067c1632-da17-4d72-b76b-09c00f747912" providerId="ADAL" clId="{22DF285A-C8BC-4B0D-A66D-1830FE0E492E}" dt="2022-12-08T18:36:52.636" v="14075" actId="20577"/>
        <pc:sldMkLst>
          <pc:docMk/>
          <pc:sldMk cId="70517443" sldId="1204"/>
        </pc:sldMkLst>
        <pc:spChg chg="mod">
          <ac:chgData name="DE JONG, Ruud" userId="067c1632-da17-4d72-b76b-09c00f747912" providerId="ADAL" clId="{22DF285A-C8BC-4B0D-A66D-1830FE0E492E}" dt="2022-12-08T16:44:12.309" v="11520" actId="20577"/>
          <ac:spMkLst>
            <pc:docMk/>
            <pc:sldMk cId="70517443" sldId="1204"/>
            <ac:spMk id="2" creationId="{00000000-0000-0000-0000-000000000000}"/>
          </ac:spMkLst>
        </pc:spChg>
        <pc:spChg chg="mod">
          <ac:chgData name="DE JONG, Ruud" userId="067c1632-da17-4d72-b76b-09c00f747912" providerId="ADAL" clId="{22DF285A-C8BC-4B0D-A66D-1830FE0E492E}" dt="2022-12-08T18:36:52.636" v="14075" actId="20577"/>
          <ac:spMkLst>
            <pc:docMk/>
            <pc:sldMk cId="70517443" sldId="1204"/>
            <ac:spMk id="3" creationId="{00000000-0000-0000-0000-000000000000}"/>
          </ac:spMkLst>
        </pc:spChg>
      </pc:sldChg>
      <pc:sldChg chg="modSp add mod">
        <pc:chgData name="DE JONG, Ruud" userId="067c1632-da17-4d72-b76b-09c00f747912" providerId="ADAL" clId="{22DF285A-C8BC-4B0D-A66D-1830FE0E492E}" dt="2022-12-15T15:27:17.708" v="30875" actId="20577"/>
        <pc:sldMkLst>
          <pc:docMk/>
          <pc:sldMk cId="2150163672" sldId="1205"/>
        </pc:sldMkLst>
        <pc:spChg chg="mod">
          <ac:chgData name="DE JONG, Ruud" userId="067c1632-da17-4d72-b76b-09c00f747912" providerId="ADAL" clId="{22DF285A-C8BC-4B0D-A66D-1830FE0E492E}" dt="2022-12-08T16:57:57.451" v="12131" actId="20577"/>
          <ac:spMkLst>
            <pc:docMk/>
            <pc:sldMk cId="2150163672" sldId="1205"/>
            <ac:spMk id="2" creationId="{00000000-0000-0000-0000-000000000000}"/>
          </ac:spMkLst>
        </pc:spChg>
        <pc:spChg chg="mod">
          <ac:chgData name="DE JONG, Ruud" userId="067c1632-da17-4d72-b76b-09c00f747912" providerId="ADAL" clId="{22DF285A-C8BC-4B0D-A66D-1830FE0E492E}" dt="2022-12-15T15:27:17.708" v="30875" actId="20577"/>
          <ac:spMkLst>
            <pc:docMk/>
            <pc:sldMk cId="2150163672" sldId="1205"/>
            <ac:spMk id="3" creationId="{00000000-0000-0000-0000-000000000000}"/>
          </ac:spMkLst>
        </pc:spChg>
      </pc:sldChg>
      <pc:sldChg chg="modSp add mod ord">
        <pc:chgData name="DE JONG, Ruud" userId="067c1632-da17-4d72-b76b-09c00f747912" providerId="ADAL" clId="{22DF285A-C8BC-4B0D-A66D-1830FE0E492E}" dt="2022-12-13T13:55:15.048" v="22460"/>
        <pc:sldMkLst>
          <pc:docMk/>
          <pc:sldMk cId="1656328333" sldId="1206"/>
        </pc:sldMkLst>
        <pc:spChg chg="mod">
          <ac:chgData name="DE JONG, Ruud" userId="067c1632-da17-4d72-b76b-09c00f747912" providerId="ADAL" clId="{22DF285A-C8BC-4B0D-A66D-1830FE0E492E}" dt="2022-12-08T17:10:48.280" v="12966" actId="20577"/>
          <ac:spMkLst>
            <pc:docMk/>
            <pc:sldMk cId="1656328333" sldId="1206"/>
            <ac:spMk id="2" creationId="{00000000-0000-0000-0000-000000000000}"/>
          </ac:spMkLst>
        </pc:spChg>
        <pc:spChg chg="mod">
          <ac:chgData name="DE JONG, Ruud" userId="067c1632-da17-4d72-b76b-09c00f747912" providerId="ADAL" clId="{22DF285A-C8BC-4B0D-A66D-1830FE0E492E}" dt="2022-12-13T13:31:17.910" v="21399" actId="20577"/>
          <ac:spMkLst>
            <pc:docMk/>
            <pc:sldMk cId="1656328333" sldId="1206"/>
            <ac:spMk id="3" creationId="{00000000-0000-0000-0000-000000000000}"/>
          </ac:spMkLst>
        </pc:spChg>
      </pc:sldChg>
      <pc:sldChg chg="addSp modSp add mod modClrScheme chgLayout">
        <pc:chgData name="DE JONG, Ruud" userId="067c1632-da17-4d72-b76b-09c00f747912" providerId="ADAL" clId="{22DF285A-C8BC-4B0D-A66D-1830FE0E492E}" dt="2022-12-13T12:48:17.123" v="20849" actId="6549"/>
        <pc:sldMkLst>
          <pc:docMk/>
          <pc:sldMk cId="2051387945" sldId="1207"/>
        </pc:sldMkLst>
        <pc:spChg chg="add mod ord">
          <ac:chgData name="DE JONG, Ruud" userId="067c1632-da17-4d72-b76b-09c00f747912" providerId="ADAL" clId="{22DF285A-C8BC-4B0D-A66D-1830FE0E492E}" dt="2022-12-13T12:47:56.309" v="20827" actId="700"/>
          <ac:spMkLst>
            <pc:docMk/>
            <pc:sldMk cId="2051387945" sldId="1207"/>
            <ac:spMk id="2" creationId="{06819F33-451E-4294-A7DB-CEFBE73BE2B2}"/>
          </ac:spMkLst>
        </pc:spChg>
        <pc:spChg chg="mod ord">
          <ac:chgData name="DE JONG, Ruud" userId="067c1632-da17-4d72-b76b-09c00f747912" providerId="ADAL" clId="{22DF285A-C8BC-4B0D-A66D-1830FE0E492E}" dt="2022-12-13T12:47:56.332" v="20828" actId="27636"/>
          <ac:spMkLst>
            <pc:docMk/>
            <pc:sldMk cId="2051387945" sldId="1207"/>
            <ac:spMk id="3" creationId="{E1F9D801-434D-4FD6-A38C-A6C187DD7E2B}"/>
          </ac:spMkLst>
        </pc:spChg>
        <pc:spChg chg="mod ord">
          <ac:chgData name="DE JONG, Ruud" userId="067c1632-da17-4d72-b76b-09c00f747912" providerId="ADAL" clId="{22DF285A-C8BC-4B0D-A66D-1830FE0E492E}" dt="2022-12-13T12:48:17.123" v="20849" actId="6549"/>
          <ac:spMkLst>
            <pc:docMk/>
            <pc:sldMk cId="2051387945" sldId="1207"/>
            <ac:spMk id="4" creationId="{15E659B3-EA4B-405E-9FAE-00661F32418F}"/>
          </ac:spMkLst>
        </pc:spChg>
      </pc:sldChg>
      <pc:sldChg chg="modSp add mod">
        <pc:chgData name="DE JONG, Ruud" userId="067c1632-da17-4d72-b76b-09c00f747912" providerId="ADAL" clId="{22DF285A-C8BC-4B0D-A66D-1830FE0E492E}" dt="2022-12-12T14:04:30.420" v="17029" actId="113"/>
        <pc:sldMkLst>
          <pc:docMk/>
          <pc:sldMk cId="2921243237" sldId="1208"/>
        </pc:sldMkLst>
        <pc:spChg chg="mod">
          <ac:chgData name="DE JONG, Ruud" userId="067c1632-da17-4d72-b76b-09c00f747912" providerId="ADAL" clId="{22DF285A-C8BC-4B0D-A66D-1830FE0E492E}" dt="2022-12-08T17:24:48.852" v="13501" actId="20577"/>
          <ac:spMkLst>
            <pc:docMk/>
            <pc:sldMk cId="2921243237" sldId="1208"/>
            <ac:spMk id="2" creationId="{00000000-0000-0000-0000-000000000000}"/>
          </ac:spMkLst>
        </pc:spChg>
        <pc:spChg chg="mod">
          <ac:chgData name="DE JONG, Ruud" userId="067c1632-da17-4d72-b76b-09c00f747912" providerId="ADAL" clId="{22DF285A-C8BC-4B0D-A66D-1830FE0E492E}" dt="2022-12-12T14:04:30.420" v="17029" actId="113"/>
          <ac:spMkLst>
            <pc:docMk/>
            <pc:sldMk cId="2921243237" sldId="1208"/>
            <ac:spMk id="3" creationId="{00000000-0000-0000-0000-000000000000}"/>
          </ac:spMkLst>
        </pc:spChg>
      </pc:sldChg>
      <pc:sldChg chg="modSp add del mod ord">
        <pc:chgData name="DE JONG, Ruud" userId="067c1632-da17-4d72-b76b-09c00f747912" providerId="ADAL" clId="{22DF285A-C8BC-4B0D-A66D-1830FE0E492E}" dt="2022-12-12T15:43:32.810" v="18297" actId="47"/>
        <pc:sldMkLst>
          <pc:docMk/>
          <pc:sldMk cId="3711010759" sldId="1209"/>
        </pc:sldMkLst>
        <pc:spChg chg="mod">
          <ac:chgData name="DE JONG, Ruud" userId="067c1632-da17-4d72-b76b-09c00f747912" providerId="ADAL" clId="{22DF285A-C8BC-4B0D-A66D-1830FE0E492E}" dt="2022-12-12T13:22:08.931" v="16328" actId="20577"/>
          <ac:spMkLst>
            <pc:docMk/>
            <pc:sldMk cId="3711010759" sldId="1209"/>
            <ac:spMk id="2" creationId="{00000000-0000-0000-0000-000000000000}"/>
          </ac:spMkLst>
        </pc:spChg>
        <pc:spChg chg="mod">
          <ac:chgData name="DE JONG, Ruud" userId="067c1632-da17-4d72-b76b-09c00f747912" providerId="ADAL" clId="{22DF285A-C8BC-4B0D-A66D-1830FE0E492E}" dt="2022-12-12T13:28:14.323" v="16470" actId="27636"/>
          <ac:spMkLst>
            <pc:docMk/>
            <pc:sldMk cId="3711010759" sldId="1209"/>
            <ac:spMk id="3" creationId="{00000000-0000-0000-0000-000000000000}"/>
          </ac:spMkLst>
        </pc:spChg>
      </pc:sldChg>
      <pc:sldChg chg="modSp add mod">
        <pc:chgData name="DE JONG, Ruud" userId="067c1632-da17-4d72-b76b-09c00f747912" providerId="ADAL" clId="{22DF285A-C8BC-4B0D-A66D-1830FE0E492E}" dt="2022-12-14T12:54:48.946" v="27455" actId="113"/>
        <pc:sldMkLst>
          <pc:docMk/>
          <pc:sldMk cId="1861020377" sldId="1210"/>
        </pc:sldMkLst>
        <pc:spChg chg="mod">
          <ac:chgData name="DE JONG, Ruud" userId="067c1632-da17-4d72-b76b-09c00f747912" providerId="ADAL" clId="{22DF285A-C8BC-4B0D-A66D-1830FE0E492E}" dt="2022-12-12T17:08:24.731" v="20156" actId="20577"/>
          <ac:spMkLst>
            <pc:docMk/>
            <pc:sldMk cId="1861020377" sldId="1210"/>
            <ac:spMk id="2" creationId="{00000000-0000-0000-0000-000000000000}"/>
          </ac:spMkLst>
        </pc:spChg>
        <pc:spChg chg="mod">
          <ac:chgData name="DE JONG, Ruud" userId="067c1632-da17-4d72-b76b-09c00f747912" providerId="ADAL" clId="{22DF285A-C8BC-4B0D-A66D-1830FE0E492E}" dt="2022-12-14T12:54:48.946" v="27455" actId="113"/>
          <ac:spMkLst>
            <pc:docMk/>
            <pc:sldMk cId="1861020377" sldId="1210"/>
            <ac:spMk id="3" creationId="{00000000-0000-0000-0000-000000000000}"/>
          </ac:spMkLst>
        </pc:spChg>
      </pc:sldChg>
      <pc:sldChg chg="modSp add mod">
        <pc:chgData name="DE JONG, Ruud" userId="067c1632-da17-4d72-b76b-09c00f747912" providerId="ADAL" clId="{22DF285A-C8BC-4B0D-A66D-1830FE0E492E}" dt="2022-12-14T17:05:59.909" v="30647" actId="20577"/>
        <pc:sldMkLst>
          <pc:docMk/>
          <pc:sldMk cId="4109064257" sldId="1211"/>
        </pc:sldMkLst>
        <pc:spChg chg="mod">
          <ac:chgData name="DE JONG, Ruud" userId="067c1632-da17-4d72-b76b-09c00f747912" providerId="ADAL" clId="{22DF285A-C8BC-4B0D-A66D-1830FE0E492E}" dt="2022-12-08T19:33:06.944" v="15325" actId="20577"/>
          <ac:spMkLst>
            <pc:docMk/>
            <pc:sldMk cId="4109064257" sldId="1211"/>
            <ac:spMk id="2" creationId="{00000000-0000-0000-0000-000000000000}"/>
          </ac:spMkLst>
        </pc:spChg>
        <pc:spChg chg="mod">
          <ac:chgData name="DE JONG, Ruud" userId="067c1632-da17-4d72-b76b-09c00f747912" providerId="ADAL" clId="{22DF285A-C8BC-4B0D-A66D-1830FE0E492E}" dt="2022-12-14T17:05:59.909" v="30647" actId="20577"/>
          <ac:spMkLst>
            <pc:docMk/>
            <pc:sldMk cId="4109064257" sldId="1211"/>
            <ac:spMk id="3" creationId="{00000000-0000-0000-0000-000000000000}"/>
          </ac:spMkLst>
        </pc:spChg>
      </pc:sldChg>
      <pc:sldChg chg="modSp add mod">
        <pc:chgData name="DE JONG, Ruud" userId="067c1632-da17-4d72-b76b-09c00f747912" providerId="ADAL" clId="{22DF285A-C8BC-4B0D-A66D-1830FE0E492E}" dt="2022-12-14T13:28:25.723" v="27578" actId="20577"/>
        <pc:sldMkLst>
          <pc:docMk/>
          <pc:sldMk cId="2422341494" sldId="1212"/>
        </pc:sldMkLst>
        <pc:spChg chg="mod">
          <ac:chgData name="DE JONG, Ruud" userId="067c1632-da17-4d72-b76b-09c00f747912" providerId="ADAL" clId="{22DF285A-C8BC-4B0D-A66D-1830FE0E492E}" dt="2022-12-12T15:48:37.607" v="18548" actId="6549"/>
          <ac:spMkLst>
            <pc:docMk/>
            <pc:sldMk cId="2422341494" sldId="1212"/>
            <ac:spMk id="2" creationId="{00000000-0000-0000-0000-000000000000}"/>
          </ac:spMkLst>
        </pc:spChg>
        <pc:spChg chg="mod">
          <ac:chgData name="DE JONG, Ruud" userId="067c1632-da17-4d72-b76b-09c00f747912" providerId="ADAL" clId="{22DF285A-C8BC-4B0D-A66D-1830FE0E492E}" dt="2022-12-14T13:28:25.723" v="27578" actId="20577"/>
          <ac:spMkLst>
            <pc:docMk/>
            <pc:sldMk cId="2422341494" sldId="1212"/>
            <ac:spMk id="3" creationId="{00000000-0000-0000-0000-000000000000}"/>
          </ac:spMkLst>
        </pc:spChg>
      </pc:sldChg>
      <pc:sldChg chg="modSp add mod">
        <pc:chgData name="DE JONG, Ruud" userId="067c1632-da17-4d72-b76b-09c00f747912" providerId="ADAL" clId="{22DF285A-C8BC-4B0D-A66D-1830FE0E492E}" dt="2022-12-12T15:52:36.527" v="18894" actId="20577"/>
        <pc:sldMkLst>
          <pc:docMk/>
          <pc:sldMk cId="809870342" sldId="1213"/>
        </pc:sldMkLst>
        <pc:spChg chg="mod">
          <ac:chgData name="DE JONG, Ruud" userId="067c1632-da17-4d72-b76b-09c00f747912" providerId="ADAL" clId="{22DF285A-C8BC-4B0D-A66D-1830FE0E492E}" dt="2022-12-12T15:46:18.984" v="18380" actId="20577"/>
          <ac:spMkLst>
            <pc:docMk/>
            <pc:sldMk cId="809870342" sldId="1213"/>
            <ac:spMk id="2" creationId="{00000000-0000-0000-0000-000000000000}"/>
          </ac:spMkLst>
        </pc:spChg>
        <pc:spChg chg="mod">
          <ac:chgData name="DE JONG, Ruud" userId="067c1632-da17-4d72-b76b-09c00f747912" providerId="ADAL" clId="{22DF285A-C8BC-4B0D-A66D-1830FE0E492E}" dt="2022-12-12T15:52:36.527" v="18894" actId="20577"/>
          <ac:spMkLst>
            <pc:docMk/>
            <pc:sldMk cId="809870342" sldId="1213"/>
            <ac:spMk id="3" creationId="{00000000-0000-0000-0000-000000000000}"/>
          </ac:spMkLst>
        </pc:spChg>
      </pc:sldChg>
      <pc:sldChg chg="addSp delSp modSp add mod ord">
        <pc:chgData name="DE JONG, Ruud" userId="067c1632-da17-4d72-b76b-09c00f747912" providerId="ADAL" clId="{22DF285A-C8BC-4B0D-A66D-1830FE0E492E}" dt="2022-12-15T15:39:35.882" v="30881" actId="20577"/>
        <pc:sldMkLst>
          <pc:docMk/>
          <pc:sldMk cId="1384498960" sldId="1214"/>
        </pc:sldMkLst>
        <pc:spChg chg="mod">
          <ac:chgData name="DE JONG, Ruud" userId="067c1632-da17-4d72-b76b-09c00f747912" providerId="ADAL" clId="{22DF285A-C8BC-4B0D-A66D-1830FE0E492E}" dt="2022-12-15T15:39:35.882" v="30881" actId="20577"/>
          <ac:spMkLst>
            <pc:docMk/>
            <pc:sldMk cId="1384498960" sldId="1214"/>
            <ac:spMk id="3" creationId="{00000000-0000-0000-0000-000000000000}"/>
          </ac:spMkLst>
        </pc:spChg>
        <pc:spChg chg="add del mod">
          <ac:chgData name="DE JONG, Ruud" userId="067c1632-da17-4d72-b76b-09c00f747912" providerId="ADAL" clId="{22DF285A-C8BC-4B0D-A66D-1830FE0E492E}" dt="2022-12-14T16:17:50.081" v="29504" actId="478"/>
          <ac:spMkLst>
            <pc:docMk/>
            <pc:sldMk cId="1384498960" sldId="1214"/>
            <ac:spMk id="4" creationId="{0E808D30-D221-448C-BE36-884FD260958D}"/>
          </ac:spMkLst>
        </pc:spChg>
        <pc:spChg chg="add mod">
          <ac:chgData name="DE JONG, Ruud" userId="067c1632-da17-4d72-b76b-09c00f747912" providerId="ADAL" clId="{22DF285A-C8BC-4B0D-A66D-1830FE0E492E}" dt="2022-12-14T16:20:36.573" v="29529" actId="20577"/>
          <ac:spMkLst>
            <pc:docMk/>
            <pc:sldMk cId="1384498960" sldId="1214"/>
            <ac:spMk id="5" creationId="{8574C09C-E668-4875-A4B3-B4CDDE7D046B}"/>
          </ac:spMkLst>
        </pc:spChg>
      </pc:sldChg>
      <pc:sldChg chg="modSp add mod">
        <pc:chgData name="DE JONG, Ruud" userId="067c1632-da17-4d72-b76b-09c00f747912" providerId="ADAL" clId="{22DF285A-C8BC-4B0D-A66D-1830FE0E492E}" dt="2022-12-14T17:05:14.759" v="30646" actId="27636"/>
        <pc:sldMkLst>
          <pc:docMk/>
          <pc:sldMk cId="3989039789" sldId="1215"/>
        </pc:sldMkLst>
        <pc:spChg chg="mod">
          <ac:chgData name="DE JONG, Ruud" userId="067c1632-da17-4d72-b76b-09c00f747912" providerId="ADAL" clId="{22DF285A-C8BC-4B0D-A66D-1830FE0E492E}" dt="2022-12-12T14:54:19.371" v="17179" actId="20577"/>
          <ac:spMkLst>
            <pc:docMk/>
            <pc:sldMk cId="3989039789" sldId="1215"/>
            <ac:spMk id="2" creationId="{00000000-0000-0000-0000-000000000000}"/>
          </ac:spMkLst>
        </pc:spChg>
        <pc:spChg chg="mod">
          <ac:chgData name="DE JONG, Ruud" userId="067c1632-da17-4d72-b76b-09c00f747912" providerId="ADAL" clId="{22DF285A-C8BC-4B0D-A66D-1830FE0E492E}" dt="2022-12-14T17:05:14.759" v="30646" actId="27636"/>
          <ac:spMkLst>
            <pc:docMk/>
            <pc:sldMk cId="3989039789" sldId="1215"/>
            <ac:spMk id="3" creationId="{00000000-0000-0000-0000-000000000000}"/>
          </ac:spMkLst>
        </pc:spChg>
      </pc:sldChg>
      <pc:sldChg chg="modSp add mod">
        <pc:chgData name="DE JONG, Ruud" userId="067c1632-da17-4d72-b76b-09c00f747912" providerId="ADAL" clId="{22DF285A-C8BC-4B0D-A66D-1830FE0E492E}" dt="2022-12-13T17:24:09.893" v="26796" actId="20577"/>
        <pc:sldMkLst>
          <pc:docMk/>
          <pc:sldMk cId="1248843153" sldId="1216"/>
        </pc:sldMkLst>
        <pc:spChg chg="mod">
          <ac:chgData name="DE JONG, Ruud" userId="067c1632-da17-4d72-b76b-09c00f747912" providerId="ADAL" clId="{22DF285A-C8BC-4B0D-A66D-1830FE0E492E}" dt="2022-12-13T16:48:41.535" v="26117" actId="20577"/>
          <ac:spMkLst>
            <pc:docMk/>
            <pc:sldMk cId="1248843153" sldId="1216"/>
            <ac:spMk id="3" creationId="{E1F9D801-434D-4FD6-A38C-A6C187DD7E2B}"/>
          </ac:spMkLst>
        </pc:spChg>
        <pc:spChg chg="mod">
          <ac:chgData name="DE JONG, Ruud" userId="067c1632-da17-4d72-b76b-09c00f747912" providerId="ADAL" clId="{22DF285A-C8BC-4B0D-A66D-1830FE0E492E}" dt="2022-12-13T17:24:09.893" v="26796" actId="20577"/>
          <ac:spMkLst>
            <pc:docMk/>
            <pc:sldMk cId="1248843153" sldId="1216"/>
            <ac:spMk id="4" creationId="{15E659B3-EA4B-405E-9FAE-00661F32418F}"/>
          </ac:spMkLst>
        </pc:spChg>
      </pc:sldChg>
      <pc:sldChg chg="addSp delSp modSp new mod modClrScheme chgLayout">
        <pc:chgData name="DE JONG, Ruud" userId="067c1632-da17-4d72-b76b-09c00f747912" providerId="ADAL" clId="{22DF285A-C8BC-4B0D-A66D-1830FE0E492E}" dt="2022-12-12T15:45:57.860" v="18363" actId="20577"/>
        <pc:sldMkLst>
          <pc:docMk/>
          <pc:sldMk cId="3369165502" sldId="1217"/>
        </pc:sldMkLst>
        <pc:spChg chg="del">
          <ac:chgData name="DE JONG, Ruud" userId="067c1632-da17-4d72-b76b-09c00f747912" providerId="ADAL" clId="{22DF285A-C8BC-4B0D-A66D-1830FE0E492E}" dt="2022-12-12T15:45:36.965" v="18333" actId="700"/>
          <ac:spMkLst>
            <pc:docMk/>
            <pc:sldMk cId="3369165502" sldId="1217"/>
            <ac:spMk id="2" creationId="{0CF0F29D-BFEC-41B9-B97A-40C5724F4520}"/>
          </ac:spMkLst>
        </pc:spChg>
        <pc:spChg chg="del">
          <ac:chgData name="DE JONG, Ruud" userId="067c1632-da17-4d72-b76b-09c00f747912" providerId="ADAL" clId="{22DF285A-C8BC-4B0D-A66D-1830FE0E492E}" dt="2022-12-12T15:45:36.965" v="18333" actId="700"/>
          <ac:spMkLst>
            <pc:docMk/>
            <pc:sldMk cId="3369165502" sldId="1217"/>
            <ac:spMk id="3" creationId="{CAFC1078-594A-411B-99E2-E2E29D8B4DE5}"/>
          </ac:spMkLst>
        </pc:spChg>
        <pc:spChg chg="add mod">
          <ac:chgData name="DE JONG, Ruud" userId="067c1632-da17-4d72-b76b-09c00f747912" providerId="ADAL" clId="{22DF285A-C8BC-4B0D-A66D-1830FE0E492E}" dt="2022-12-12T15:45:57.860" v="18363" actId="20577"/>
          <ac:spMkLst>
            <pc:docMk/>
            <pc:sldMk cId="3369165502" sldId="1217"/>
            <ac:spMk id="4" creationId="{7E71626A-CA5A-4401-81EF-814E52378640}"/>
          </ac:spMkLst>
        </pc:spChg>
        <pc:spChg chg="add mod">
          <ac:chgData name="DE JONG, Ruud" userId="067c1632-da17-4d72-b76b-09c00f747912" providerId="ADAL" clId="{22DF285A-C8BC-4B0D-A66D-1830FE0E492E}" dt="2022-12-12T15:45:44.578" v="18334" actId="700"/>
          <ac:spMkLst>
            <pc:docMk/>
            <pc:sldMk cId="3369165502" sldId="1217"/>
            <ac:spMk id="5" creationId="{E0A8168C-3098-47FE-A6A5-49C901143596}"/>
          </ac:spMkLst>
        </pc:spChg>
        <pc:spChg chg="add mod">
          <ac:chgData name="DE JONG, Ruud" userId="067c1632-da17-4d72-b76b-09c00f747912" providerId="ADAL" clId="{22DF285A-C8BC-4B0D-A66D-1830FE0E492E}" dt="2022-12-12T15:45:44.578" v="18334" actId="700"/>
          <ac:spMkLst>
            <pc:docMk/>
            <pc:sldMk cId="3369165502" sldId="1217"/>
            <ac:spMk id="6" creationId="{212CDEDB-37C8-4AEF-8FF6-BB6E42BC16E5}"/>
          </ac:spMkLst>
        </pc:spChg>
      </pc:sldChg>
      <pc:sldChg chg="modSp new del mod">
        <pc:chgData name="DE JONG, Ruud" userId="067c1632-da17-4d72-b76b-09c00f747912" providerId="ADAL" clId="{22DF285A-C8BC-4B0D-A66D-1830FE0E492E}" dt="2022-12-12T16:08:55.505" v="19770" actId="47"/>
        <pc:sldMkLst>
          <pc:docMk/>
          <pc:sldMk cId="1737271212" sldId="1218"/>
        </pc:sldMkLst>
        <pc:spChg chg="mod">
          <ac:chgData name="DE JONG, Ruud" userId="067c1632-da17-4d72-b76b-09c00f747912" providerId="ADAL" clId="{22DF285A-C8BC-4B0D-A66D-1830FE0E492E}" dt="2022-12-12T15:57:14.477" v="18897" actId="20577"/>
          <ac:spMkLst>
            <pc:docMk/>
            <pc:sldMk cId="1737271212" sldId="1218"/>
            <ac:spMk id="3" creationId="{969D48B5-D6DD-450B-B283-60895CB80A1C}"/>
          </ac:spMkLst>
        </pc:spChg>
      </pc:sldChg>
      <pc:sldChg chg="modSp add mod">
        <pc:chgData name="DE JONG, Ruud" userId="067c1632-da17-4d72-b76b-09c00f747912" providerId="ADAL" clId="{22DF285A-C8BC-4B0D-A66D-1830FE0E492E}" dt="2022-12-12T15:58:09.808" v="19001" actId="6549"/>
        <pc:sldMkLst>
          <pc:docMk/>
          <pc:sldMk cId="214502922" sldId="1219"/>
        </pc:sldMkLst>
        <pc:spChg chg="mod">
          <ac:chgData name="DE JONG, Ruud" userId="067c1632-da17-4d72-b76b-09c00f747912" providerId="ADAL" clId="{22DF285A-C8BC-4B0D-A66D-1830FE0E492E}" dt="2022-12-12T15:57:26.978" v="18909" actId="20577"/>
          <ac:spMkLst>
            <pc:docMk/>
            <pc:sldMk cId="214502922" sldId="1219"/>
            <ac:spMk id="2" creationId="{00000000-0000-0000-0000-000000000000}"/>
          </ac:spMkLst>
        </pc:spChg>
        <pc:spChg chg="mod">
          <ac:chgData name="DE JONG, Ruud" userId="067c1632-da17-4d72-b76b-09c00f747912" providerId="ADAL" clId="{22DF285A-C8BC-4B0D-A66D-1830FE0E492E}" dt="2022-12-12T15:58:09.808" v="19001" actId="6549"/>
          <ac:spMkLst>
            <pc:docMk/>
            <pc:sldMk cId="214502922" sldId="1219"/>
            <ac:spMk id="3" creationId="{00000000-0000-0000-0000-000000000000}"/>
          </ac:spMkLst>
        </pc:spChg>
      </pc:sldChg>
      <pc:sldChg chg="modSp add mod">
        <pc:chgData name="DE JONG, Ruud" userId="067c1632-da17-4d72-b76b-09c00f747912" providerId="ADAL" clId="{22DF285A-C8BC-4B0D-A66D-1830FE0E492E}" dt="2022-12-12T15:58:33.729" v="19017" actId="20577"/>
        <pc:sldMkLst>
          <pc:docMk/>
          <pc:sldMk cId="3879828904" sldId="1220"/>
        </pc:sldMkLst>
        <pc:spChg chg="mod">
          <ac:chgData name="DE JONG, Ruud" userId="067c1632-da17-4d72-b76b-09c00f747912" providerId="ADAL" clId="{22DF285A-C8BC-4B0D-A66D-1830FE0E492E}" dt="2022-12-12T15:58:33.729" v="19017" actId="20577"/>
          <ac:spMkLst>
            <pc:docMk/>
            <pc:sldMk cId="3879828904" sldId="1220"/>
            <ac:spMk id="4" creationId="{7E71626A-CA5A-4401-81EF-814E52378640}"/>
          </ac:spMkLst>
        </pc:spChg>
      </pc:sldChg>
      <pc:sldChg chg="modSp add mod ord">
        <pc:chgData name="DE JONG, Ruud" userId="067c1632-da17-4d72-b76b-09c00f747912" providerId="ADAL" clId="{22DF285A-C8BC-4B0D-A66D-1830FE0E492E}" dt="2022-12-13T16:51:41.953" v="26125" actId="15"/>
        <pc:sldMkLst>
          <pc:docMk/>
          <pc:sldMk cId="4289350803" sldId="1221"/>
        </pc:sldMkLst>
        <pc:spChg chg="mod">
          <ac:chgData name="DE JONG, Ruud" userId="067c1632-da17-4d72-b76b-09c00f747912" providerId="ADAL" clId="{22DF285A-C8BC-4B0D-A66D-1830FE0E492E}" dt="2022-12-12T15:58:50.514" v="19037" actId="20577"/>
          <ac:spMkLst>
            <pc:docMk/>
            <pc:sldMk cId="4289350803" sldId="1221"/>
            <ac:spMk id="2" creationId="{00000000-0000-0000-0000-000000000000}"/>
          </ac:spMkLst>
        </pc:spChg>
        <pc:spChg chg="mod">
          <ac:chgData name="DE JONG, Ruud" userId="067c1632-da17-4d72-b76b-09c00f747912" providerId="ADAL" clId="{22DF285A-C8BC-4B0D-A66D-1830FE0E492E}" dt="2022-12-13T16:51:41.953" v="26125" actId="15"/>
          <ac:spMkLst>
            <pc:docMk/>
            <pc:sldMk cId="4289350803" sldId="1221"/>
            <ac:spMk id="3" creationId="{00000000-0000-0000-0000-000000000000}"/>
          </ac:spMkLst>
        </pc:spChg>
      </pc:sldChg>
      <pc:sldChg chg="modSp add mod">
        <pc:chgData name="DE JONG, Ruud" userId="067c1632-da17-4d72-b76b-09c00f747912" providerId="ADAL" clId="{22DF285A-C8BC-4B0D-A66D-1830FE0E492E}" dt="2022-12-12T16:08:39.846" v="19769" actId="20577"/>
        <pc:sldMkLst>
          <pc:docMk/>
          <pc:sldMk cId="3110000612" sldId="1222"/>
        </pc:sldMkLst>
        <pc:spChg chg="mod">
          <ac:chgData name="DE JONG, Ruud" userId="067c1632-da17-4d72-b76b-09c00f747912" providerId="ADAL" clId="{22DF285A-C8BC-4B0D-A66D-1830FE0E492E}" dt="2022-12-12T16:08:39.846" v="19769" actId="20577"/>
          <ac:spMkLst>
            <pc:docMk/>
            <pc:sldMk cId="3110000612" sldId="1222"/>
            <ac:spMk id="4" creationId="{7E71626A-CA5A-4401-81EF-814E52378640}"/>
          </ac:spMkLst>
        </pc:spChg>
      </pc:sldChg>
      <pc:sldChg chg="modSp add mod">
        <pc:chgData name="DE JONG, Ruud" userId="067c1632-da17-4d72-b76b-09c00f747912" providerId="ADAL" clId="{22DF285A-C8BC-4B0D-A66D-1830FE0E492E}" dt="2022-12-12T16:32:09.062" v="20139" actId="20577"/>
        <pc:sldMkLst>
          <pc:docMk/>
          <pc:sldMk cId="2384932988" sldId="1223"/>
        </pc:sldMkLst>
        <pc:spChg chg="mod">
          <ac:chgData name="DE JONG, Ruud" userId="067c1632-da17-4d72-b76b-09c00f747912" providerId="ADAL" clId="{22DF285A-C8BC-4B0D-A66D-1830FE0E492E}" dt="2022-12-12T16:31:07.222" v="20055" actId="20577"/>
          <ac:spMkLst>
            <pc:docMk/>
            <pc:sldMk cId="2384932988" sldId="1223"/>
            <ac:spMk id="2" creationId="{00000000-0000-0000-0000-000000000000}"/>
          </ac:spMkLst>
        </pc:spChg>
        <pc:spChg chg="mod">
          <ac:chgData name="DE JONG, Ruud" userId="067c1632-da17-4d72-b76b-09c00f747912" providerId="ADAL" clId="{22DF285A-C8BC-4B0D-A66D-1830FE0E492E}" dt="2022-12-12T16:32:09.062" v="20139" actId="20577"/>
          <ac:spMkLst>
            <pc:docMk/>
            <pc:sldMk cId="2384932988" sldId="1223"/>
            <ac:spMk id="3" creationId="{00000000-0000-0000-0000-000000000000}"/>
          </ac:spMkLst>
        </pc:spChg>
      </pc:sldChg>
      <pc:sldChg chg="modSp add mod">
        <pc:chgData name="DE JONG, Ruud" userId="067c1632-da17-4d72-b76b-09c00f747912" providerId="ADAL" clId="{22DF285A-C8BC-4B0D-A66D-1830FE0E492E}" dt="2022-12-14T12:55:52.457" v="27511" actId="113"/>
        <pc:sldMkLst>
          <pc:docMk/>
          <pc:sldMk cId="2625866253" sldId="1224"/>
        </pc:sldMkLst>
        <pc:spChg chg="mod">
          <ac:chgData name="DE JONG, Ruud" userId="067c1632-da17-4d72-b76b-09c00f747912" providerId="ADAL" clId="{22DF285A-C8BC-4B0D-A66D-1830FE0E492E}" dt="2022-12-13T17:05:16.310" v="26138" actId="20577"/>
          <ac:spMkLst>
            <pc:docMk/>
            <pc:sldMk cId="2625866253" sldId="1224"/>
            <ac:spMk id="2" creationId="{00000000-0000-0000-0000-000000000000}"/>
          </ac:spMkLst>
        </pc:spChg>
        <pc:spChg chg="mod">
          <ac:chgData name="DE JONG, Ruud" userId="067c1632-da17-4d72-b76b-09c00f747912" providerId="ADAL" clId="{22DF285A-C8BC-4B0D-A66D-1830FE0E492E}" dt="2022-12-14T12:55:52.457" v="27511" actId="113"/>
          <ac:spMkLst>
            <pc:docMk/>
            <pc:sldMk cId="2625866253" sldId="1224"/>
            <ac:spMk id="3" creationId="{00000000-0000-0000-0000-000000000000}"/>
          </ac:spMkLst>
        </pc:spChg>
      </pc:sldChg>
      <pc:sldChg chg="addSp delSp modSp new mod modClrScheme chgLayout">
        <pc:chgData name="DE JONG, Ruud" userId="067c1632-da17-4d72-b76b-09c00f747912" providerId="ADAL" clId="{22DF285A-C8BC-4B0D-A66D-1830FE0E492E}" dt="2022-12-13T12:46:47.354" v="20802" actId="20577"/>
        <pc:sldMkLst>
          <pc:docMk/>
          <pc:sldMk cId="1308107935" sldId="1225"/>
        </pc:sldMkLst>
        <pc:spChg chg="del mod ord">
          <ac:chgData name="DE JONG, Ruud" userId="067c1632-da17-4d72-b76b-09c00f747912" providerId="ADAL" clId="{22DF285A-C8BC-4B0D-A66D-1830FE0E492E}" dt="2022-12-13T12:46:40.969" v="20786" actId="700"/>
          <ac:spMkLst>
            <pc:docMk/>
            <pc:sldMk cId="1308107935" sldId="1225"/>
            <ac:spMk id="2" creationId="{249F159D-C3B9-4F2E-83A3-2A47436DC5AA}"/>
          </ac:spMkLst>
        </pc:spChg>
        <pc:spChg chg="del mod ord">
          <ac:chgData name="DE JONG, Ruud" userId="067c1632-da17-4d72-b76b-09c00f747912" providerId="ADAL" clId="{22DF285A-C8BC-4B0D-A66D-1830FE0E492E}" dt="2022-12-13T12:46:40.969" v="20786" actId="700"/>
          <ac:spMkLst>
            <pc:docMk/>
            <pc:sldMk cId="1308107935" sldId="1225"/>
            <ac:spMk id="3" creationId="{EF8F16E5-D3F1-49D1-8C4D-0E3B03A92F22}"/>
          </ac:spMkLst>
        </pc:spChg>
        <pc:spChg chg="add mod ord">
          <ac:chgData name="DE JONG, Ruud" userId="067c1632-da17-4d72-b76b-09c00f747912" providerId="ADAL" clId="{22DF285A-C8BC-4B0D-A66D-1830FE0E492E}" dt="2022-12-13T12:46:47.354" v="20802" actId="20577"/>
          <ac:spMkLst>
            <pc:docMk/>
            <pc:sldMk cId="1308107935" sldId="1225"/>
            <ac:spMk id="4" creationId="{251CC192-138A-444C-8816-E1DCF7137406}"/>
          </ac:spMkLst>
        </pc:spChg>
        <pc:spChg chg="add mod ord">
          <ac:chgData name="DE JONG, Ruud" userId="067c1632-da17-4d72-b76b-09c00f747912" providerId="ADAL" clId="{22DF285A-C8BC-4B0D-A66D-1830FE0E492E}" dt="2022-12-13T12:46:40.969" v="20786" actId="700"/>
          <ac:spMkLst>
            <pc:docMk/>
            <pc:sldMk cId="1308107935" sldId="1225"/>
            <ac:spMk id="5" creationId="{07EA141A-0A4F-438A-A913-29B48EF14322}"/>
          </ac:spMkLst>
        </pc:spChg>
        <pc:spChg chg="add mod ord">
          <ac:chgData name="DE JONG, Ruud" userId="067c1632-da17-4d72-b76b-09c00f747912" providerId="ADAL" clId="{22DF285A-C8BC-4B0D-A66D-1830FE0E492E}" dt="2022-12-13T12:46:40.969" v="20786" actId="700"/>
          <ac:spMkLst>
            <pc:docMk/>
            <pc:sldMk cId="1308107935" sldId="1225"/>
            <ac:spMk id="6" creationId="{69AEB524-7DD2-49DF-8BE5-A9A8B5ABA286}"/>
          </ac:spMkLst>
        </pc:spChg>
      </pc:sldChg>
      <pc:sldChg chg="modSp add mod">
        <pc:chgData name="DE JONG, Ruud" userId="067c1632-da17-4d72-b76b-09c00f747912" providerId="ADAL" clId="{22DF285A-C8BC-4B0D-A66D-1830FE0E492E}" dt="2022-12-13T14:33:32.330" v="22797" actId="20577"/>
        <pc:sldMkLst>
          <pc:docMk/>
          <pc:sldMk cId="948009766" sldId="1226"/>
        </pc:sldMkLst>
        <pc:spChg chg="mod">
          <ac:chgData name="DE JONG, Ruud" userId="067c1632-da17-4d72-b76b-09c00f747912" providerId="ADAL" clId="{22DF285A-C8BC-4B0D-A66D-1830FE0E492E}" dt="2022-12-13T12:56:23.206" v="20868" actId="20577"/>
          <ac:spMkLst>
            <pc:docMk/>
            <pc:sldMk cId="948009766" sldId="1226"/>
            <ac:spMk id="2" creationId="{00000000-0000-0000-0000-000000000000}"/>
          </ac:spMkLst>
        </pc:spChg>
        <pc:spChg chg="mod">
          <ac:chgData name="DE JONG, Ruud" userId="067c1632-da17-4d72-b76b-09c00f747912" providerId="ADAL" clId="{22DF285A-C8BC-4B0D-A66D-1830FE0E492E}" dt="2022-12-13T14:33:32.330" v="22797" actId="20577"/>
          <ac:spMkLst>
            <pc:docMk/>
            <pc:sldMk cId="948009766" sldId="1226"/>
            <ac:spMk id="3" creationId="{00000000-0000-0000-0000-000000000000}"/>
          </ac:spMkLst>
        </pc:spChg>
      </pc:sldChg>
      <pc:sldChg chg="modSp add mod">
        <pc:chgData name="DE JONG, Ruud" userId="067c1632-da17-4d72-b76b-09c00f747912" providerId="ADAL" clId="{22DF285A-C8BC-4B0D-A66D-1830FE0E492E}" dt="2022-12-13T13:53:08.038" v="22436" actId="113"/>
        <pc:sldMkLst>
          <pc:docMk/>
          <pc:sldMk cId="1013862394" sldId="1227"/>
        </pc:sldMkLst>
        <pc:spChg chg="mod">
          <ac:chgData name="DE JONG, Ruud" userId="067c1632-da17-4d72-b76b-09c00f747912" providerId="ADAL" clId="{22DF285A-C8BC-4B0D-A66D-1830FE0E492E}" dt="2022-12-13T13:39:56.357" v="21413" actId="2711"/>
          <ac:spMkLst>
            <pc:docMk/>
            <pc:sldMk cId="1013862394" sldId="1227"/>
            <ac:spMk id="2" creationId="{00000000-0000-0000-0000-000000000000}"/>
          </ac:spMkLst>
        </pc:spChg>
        <pc:spChg chg="mod">
          <ac:chgData name="DE JONG, Ruud" userId="067c1632-da17-4d72-b76b-09c00f747912" providerId="ADAL" clId="{22DF285A-C8BC-4B0D-A66D-1830FE0E492E}" dt="2022-12-13T13:53:08.038" v="22436" actId="113"/>
          <ac:spMkLst>
            <pc:docMk/>
            <pc:sldMk cId="1013862394" sldId="1227"/>
            <ac:spMk id="3" creationId="{00000000-0000-0000-0000-000000000000}"/>
          </ac:spMkLst>
        </pc:spChg>
      </pc:sldChg>
      <pc:sldChg chg="modSp add mod">
        <pc:chgData name="DE JONG, Ruud" userId="067c1632-da17-4d72-b76b-09c00f747912" providerId="ADAL" clId="{22DF285A-C8BC-4B0D-A66D-1830FE0E492E}" dt="2022-12-14T16:24:54.559" v="29694" actId="20577"/>
        <pc:sldMkLst>
          <pc:docMk/>
          <pc:sldMk cId="2194289074" sldId="1228"/>
        </pc:sldMkLst>
        <pc:spChg chg="mod">
          <ac:chgData name="DE JONG, Ruud" userId="067c1632-da17-4d72-b76b-09c00f747912" providerId="ADAL" clId="{22DF285A-C8BC-4B0D-A66D-1830FE0E492E}" dt="2022-12-13T14:35:31.919" v="22816" actId="20577"/>
          <ac:spMkLst>
            <pc:docMk/>
            <pc:sldMk cId="2194289074" sldId="1228"/>
            <ac:spMk id="2" creationId="{00000000-0000-0000-0000-000000000000}"/>
          </ac:spMkLst>
        </pc:spChg>
        <pc:spChg chg="mod">
          <ac:chgData name="DE JONG, Ruud" userId="067c1632-da17-4d72-b76b-09c00f747912" providerId="ADAL" clId="{22DF285A-C8BC-4B0D-A66D-1830FE0E492E}" dt="2022-12-14T16:24:54.559" v="29694" actId="20577"/>
          <ac:spMkLst>
            <pc:docMk/>
            <pc:sldMk cId="2194289074" sldId="1228"/>
            <ac:spMk id="3" creationId="{00000000-0000-0000-0000-000000000000}"/>
          </ac:spMkLst>
        </pc:spChg>
      </pc:sldChg>
      <pc:sldChg chg="modSp add mod">
        <pc:chgData name="DE JONG, Ruud" userId="067c1632-da17-4d72-b76b-09c00f747912" providerId="ADAL" clId="{22DF285A-C8BC-4B0D-A66D-1830FE0E492E}" dt="2022-12-13T16:06:26.317" v="25362" actId="20577"/>
        <pc:sldMkLst>
          <pc:docMk/>
          <pc:sldMk cId="418082920" sldId="1229"/>
        </pc:sldMkLst>
        <pc:spChg chg="mod">
          <ac:chgData name="DE JONG, Ruud" userId="067c1632-da17-4d72-b76b-09c00f747912" providerId="ADAL" clId="{22DF285A-C8BC-4B0D-A66D-1830FE0E492E}" dt="2022-12-13T15:53:07.770" v="24721" actId="20577"/>
          <ac:spMkLst>
            <pc:docMk/>
            <pc:sldMk cId="418082920" sldId="1229"/>
            <ac:spMk id="2" creationId="{00000000-0000-0000-0000-000000000000}"/>
          </ac:spMkLst>
        </pc:spChg>
        <pc:spChg chg="mod">
          <ac:chgData name="DE JONG, Ruud" userId="067c1632-da17-4d72-b76b-09c00f747912" providerId="ADAL" clId="{22DF285A-C8BC-4B0D-A66D-1830FE0E492E}" dt="2022-12-13T16:06:26.317" v="25362" actId="20577"/>
          <ac:spMkLst>
            <pc:docMk/>
            <pc:sldMk cId="418082920" sldId="1229"/>
            <ac:spMk id="3" creationId="{00000000-0000-0000-0000-000000000000}"/>
          </ac:spMkLst>
        </pc:spChg>
      </pc:sldChg>
      <pc:sldChg chg="modSp add mod">
        <pc:chgData name="DE JONG, Ruud" userId="067c1632-da17-4d72-b76b-09c00f747912" providerId="ADAL" clId="{22DF285A-C8BC-4B0D-A66D-1830FE0E492E}" dt="2022-12-13T16:42:47.827" v="26110" actId="20577"/>
        <pc:sldMkLst>
          <pc:docMk/>
          <pc:sldMk cId="2197235393" sldId="1230"/>
        </pc:sldMkLst>
        <pc:spChg chg="mod">
          <ac:chgData name="DE JONG, Ruud" userId="067c1632-da17-4d72-b76b-09c00f747912" providerId="ADAL" clId="{22DF285A-C8BC-4B0D-A66D-1830FE0E492E}" dt="2022-12-13T16:10:26.919" v="25389" actId="20577"/>
          <ac:spMkLst>
            <pc:docMk/>
            <pc:sldMk cId="2197235393" sldId="1230"/>
            <ac:spMk id="2" creationId="{00000000-0000-0000-0000-000000000000}"/>
          </ac:spMkLst>
        </pc:spChg>
        <pc:spChg chg="mod">
          <ac:chgData name="DE JONG, Ruud" userId="067c1632-da17-4d72-b76b-09c00f747912" providerId="ADAL" clId="{22DF285A-C8BC-4B0D-A66D-1830FE0E492E}" dt="2022-12-13T16:42:47.827" v="26110" actId="20577"/>
          <ac:spMkLst>
            <pc:docMk/>
            <pc:sldMk cId="2197235393" sldId="1230"/>
            <ac:spMk id="3" creationId="{00000000-0000-0000-0000-000000000000}"/>
          </ac:spMkLst>
        </pc:spChg>
      </pc:sldChg>
      <pc:sldChg chg="modSp add mod">
        <pc:chgData name="DE JONG, Ruud" userId="067c1632-da17-4d72-b76b-09c00f747912" providerId="ADAL" clId="{22DF285A-C8BC-4B0D-A66D-1830FE0E492E}" dt="2022-12-13T17:17:07.636" v="26788" actId="20577"/>
        <pc:sldMkLst>
          <pc:docMk/>
          <pc:sldMk cId="2748082374" sldId="1231"/>
        </pc:sldMkLst>
        <pc:spChg chg="mod">
          <ac:chgData name="DE JONG, Ruud" userId="067c1632-da17-4d72-b76b-09c00f747912" providerId="ADAL" clId="{22DF285A-C8BC-4B0D-A66D-1830FE0E492E}" dt="2022-12-13T17:17:07.636" v="26788" actId="20577"/>
          <ac:spMkLst>
            <pc:docMk/>
            <pc:sldMk cId="2748082374" sldId="1231"/>
            <ac:spMk id="4" creationId="{7E71626A-CA5A-4401-81EF-814E52378640}"/>
          </ac:spMkLst>
        </pc:spChg>
      </pc:sldChg>
      <pc:sldChg chg="modSp add mod">
        <pc:chgData name="DE JONG, Ruud" userId="067c1632-da17-4d72-b76b-09c00f747912" providerId="ADAL" clId="{22DF285A-C8BC-4B0D-A66D-1830FE0E492E}" dt="2022-12-14T13:20:30.683" v="27574" actId="20577"/>
        <pc:sldMkLst>
          <pc:docMk/>
          <pc:sldMk cId="1393683728" sldId="1232"/>
        </pc:sldMkLst>
        <pc:spChg chg="mod">
          <ac:chgData name="DE JONG, Ruud" userId="067c1632-da17-4d72-b76b-09c00f747912" providerId="ADAL" clId="{22DF285A-C8BC-4B0D-A66D-1830FE0E492E}" dt="2022-12-13T18:36:10.099" v="26858" actId="20577"/>
          <ac:spMkLst>
            <pc:docMk/>
            <pc:sldMk cId="1393683728" sldId="1232"/>
            <ac:spMk id="2" creationId="{00000000-0000-0000-0000-000000000000}"/>
          </ac:spMkLst>
        </pc:spChg>
        <pc:spChg chg="mod">
          <ac:chgData name="DE JONG, Ruud" userId="067c1632-da17-4d72-b76b-09c00f747912" providerId="ADAL" clId="{22DF285A-C8BC-4B0D-A66D-1830FE0E492E}" dt="2022-12-14T13:20:30.683" v="27574" actId="20577"/>
          <ac:spMkLst>
            <pc:docMk/>
            <pc:sldMk cId="1393683728" sldId="1232"/>
            <ac:spMk id="3" creationId="{00000000-0000-0000-0000-000000000000}"/>
          </ac:spMkLst>
        </pc:spChg>
      </pc:sldChg>
      <pc:sldChg chg="modSp add mod">
        <pc:chgData name="DE JONG, Ruud" userId="067c1632-da17-4d72-b76b-09c00f747912" providerId="ADAL" clId="{22DF285A-C8BC-4B0D-A66D-1830FE0E492E}" dt="2022-12-13T19:24:34.561" v="27392" actId="113"/>
        <pc:sldMkLst>
          <pc:docMk/>
          <pc:sldMk cId="3842220387" sldId="1233"/>
        </pc:sldMkLst>
        <pc:spChg chg="mod">
          <ac:chgData name="DE JONG, Ruud" userId="067c1632-da17-4d72-b76b-09c00f747912" providerId="ADAL" clId="{22DF285A-C8BC-4B0D-A66D-1830FE0E492E}" dt="2022-12-13T18:37:56.586" v="27108" actId="20577"/>
          <ac:spMkLst>
            <pc:docMk/>
            <pc:sldMk cId="3842220387" sldId="1233"/>
            <ac:spMk id="2" creationId="{00000000-0000-0000-0000-000000000000}"/>
          </ac:spMkLst>
        </pc:spChg>
        <pc:spChg chg="mod">
          <ac:chgData name="DE JONG, Ruud" userId="067c1632-da17-4d72-b76b-09c00f747912" providerId="ADAL" clId="{22DF285A-C8BC-4B0D-A66D-1830FE0E492E}" dt="2022-12-13T19:24:34.561" v="27392" actId="113"/>
          <ac:spMkLst>
            <pc:docMk/>
            <pc:sldMk cId="3842220387" sldId="1233"/>
            <ac:spMk id="3" creationId="{00000000-0000-0000-0000-000000000000}"/>
          </ac:spMkLst>
        </pc:spChg>
      </pc:sldChg>
      <pc:sldChg chg="modSp add del mod">
        <pc:chgData name="DE JONG, Ruud" userId="067c1632-da17-4d72-b76b-09c00f747912" providerId="ADAL" clId="{22DF285A-C8BC-4B0D-A66D-1830FE0E492E}" dt="2022-12-14T17:12:25.548" v="30870" actId="47"/>
        <pc:sldMkLst>
          <pc:docMk/>
          <pc:sldMk cId="3586640052" sldId="1234"/>
        </pc:sldMkLst>
        <pc:spChg chg="mod">
          <ac:chgData name="DE JONG, Ruud" userId="067c1632-da17-4d72-b76b-09c00f747912" providerId="ADAL" clId="{22DF285A-C8BC-4B0D-A66D-1830FE0E492E}" dt="2022-12-14T13:07:47.802" v="27530" actId="20577"/>
          <ac:spMkLst>
            <pc:docMk/>
            <pc:sldMk cId="3586640052" sldId="1234"/>
            <ac:spMk id="3" creationId="{E1F9D801-434D-4FD6-A38C-A6C187DD7E2B}"/>
          </ac:spMkLst>
        </pc:spChg>
        <pc:spChg chg="mod">
          <ac:chgData name="DE JONG, Ruud" userId="067c1632-da17-4d72-b76b-09c00f747912" providerId="ADAL" clId="{22DF285A-C8BC-4B0D-A66D-1830FE0E492E}" dt="2022-12-14T13:07:45.589" v="27528" actId="20577"/>
          <ac:spMkLst>
            <pc:docMk/>
            <pc:sldMk cId="3586640052" sldId="1234"/>
            <ac:spMk id="4" creationId="{15E659B3-EA4B-405E-9FAE-00661F32418F}"/>
          </ac:spMkLst>
        </pc:spChg>
      </pc:sldChg>
      <pc:sldChg chg="modSp add mod">
        <pc:chgData name="DE JONG, Ruud" userId="067c1632-da17-4d72-b76b-09c00f747912" providerId="ADAL" clId="{22DF285A-C8BC-4B0D-A66D-1830FE0E492E}" dt="2022-12-14T15:57:41.286" v="29088" actId="113"/>
        <pc:sldMkLst>
          <pc:docMk/>
          <pc:sldMk cId="445574559" sldId="1235"/>
        </pc:sldMkLst>
        <pc:spChg chg="mod">
          <ac:chgData name="DE JONG, Ruud" userId="067c1632-da17-4d72-b76b-09c00f747912" providerId="ADAL" clId="{22DF285A-C8BC-4B0D-A66D-1830FE0E492E}" dt="2022-12-14T15:16:58.776" v="27735" actId="20577"/>
          <ac:spMkLst>
            <pc:docMk/>
            <pc:sldMk cId="445574559" sldId="1235"/>
            <ac:spMk id="2" creationId="{00000000-0000-0000-0000-000000000000}"/>
          </ac:spMkLst>
        </pc:spChg>
        <pc:spChg chg="mod">
          <ac:chgData name="DE JONG, Ruud" userId="067c1632-da17-4d72-b76b-09c00f747912" providerId="ADAL" clId="{22DF285A-C8BC-4B0D-A66D-1830FE0E492E}" dt="2022-12-14T15:57:41.286" v="29088" actId="113"/>
          <ac:spMkLst>
            <pc:docMk/>
            <pc:sldMk cId="445574559" sldId="1235"/>
            <ac:spMk id="3" creationId="{00000000-0000-0000-0000-000000000000}"/>
          </ac:spMkLst>
        </pc:spChg>
      </pc:sldChg>
      <pc:sldChg chg="addSp delSp modSp mod">
        <pc:chgData name="DE JONG, Ruud" userId="067c1632-da17-4d72-b76b-09c00f747912" providerId="ADAL" clId="{22DF285A-C8BC-4B0D-A66D-1830FE0E492E}" dt="2022-12-14T15:33:22.139" v="28682" actId="20577"/>
        <pc:sldMkLst>
          <pc:docMk/>
          <pc:sldMk cId="62184735" sldId="1236"/>
        </pc:sldMkLst>
        <pc:spChg chg="mod">
          <ac:chgData name="DE JONG, Ruud" userId="067c1632-da17-4d72-b76b-09c00f747912" providerId="ADAL" clId="{22DF285A-C8BC-4B0D-A66D-1830FE0E492E}" dt="2022-12-14T15:33:22.139" v="28682" actId="20577"/>
          <ac:spMkLst>
            <pc:docMk/>
            <pc:sldMk cId="62184735" sldId="1236"/>
            <ac:spMk id="6" creationId="{00000000-0000-0000-0000-000000000000}"/>
          </ac:spMkLst>
        </pc:spChg>
        <pc:spChg chg="mod">
          <ac:chgData name="DE JONG, Ruud" userId="067c1632-da17-4d72-b76b-09c00f747912" providerId="ADAL" clId="{22DF285A-C8BC-4B0D-A66D-1830FE0E492E}" dt="2022-12-14T15:26:08.390" v="28564" actId="20577"/>
          <ac:spMkLst>
            <pc:docMk/>
            <pc:sldMk cId="62184735" sldId="1236"/>
            <ac:spMk id="10" creationId="{00000000-0000-0000-0000-000000000000}"/>
          </ac:spMkLst>
        </pc:spChg>
        <pc:spChg chg="mod">
          <ac:chgData name="DE JONG, Ruud" userId="067c1632-da17-4d72-b76b-09c00f747912" providerId="ADAL" clId="{22DF285A-C8BC-4B0D-A66D-1830FE0E492E}" dt="2022-12-14T15:31:16.269" v="28639" actId="1036"/>
          <ac:spMkLst>
            <pc:docMk/>
            <pc:sldMk cId="62184735" sldId="1236"/>
            <ac:spMk id="11" creationId="{00000000-0000-0000-0000-000000000000}"/>
          </ac:spMkLst>
        </pc:spChg>
        <pc:spChg chg="add mod">
          <ac:chgData name="DE JONG, Ruud" userId="067c1632-da17-4d72-b76b-09c00f747912" providerId="ADAL" clId="{22DF285A-C8BC-4B0D-A66D-1830FE0E492E}" dt="2022-12-14T15:31:32.380" v="28645" actId="1076"/>
          <ac:spMkLst>
            <pc:docMk/>
            <pc:sldMk cId="62184735" sldId="1236"/>
            <ac:spMk id="18" creationId="{9704439A-A263-4B52-8D62-5E044C1FB23C}"/>
          </ac:spMkLst>
        </pc:spChg>
        <pc:spChg chg="add mod">
          <ac:chgData name="DE JONG, Ruud" userId="067c1632-da17-4d72-b76b-09c00f747912" providerId="ADAL" clId="{22DF285A-C8BC-4B0D-A66D-1830FE0E492E}" dt="2022-12-14T15:31:23.182" v="28644" actId="1035"/>
          <ac:spMkLst>
            <pc:docMk/>
            <pc:sldMk cId="62184735" sldId="1236"/>
            <ac:spMk id="19" creationId="{CA53FAA3-82CD-4E6C-871B-64C975ABD537}"/>
          </ac:spMkLst>
        </pc:spChg>
        <pc:cxnChg chg="mod">
          <ac:chgData name="DE JONG, Ruud" userId="067c1632-da17-4d72-b76b-09c00f747912" providerId="ADAL" clId="{22DF285A-C8BC-4B0D-A66D-1830FE0E492E}" dt="2022-12-14T15:31:16.269" v="28639" actId="1036"/>
          <ac:cxnSpMkLst>
            <pc:docMk/>
            <pc:sldMk cId="62184735" sldId="1236"/>
            <ac:cxnSpMk id="12" creationId="{00000000-0000-0000-0000-000000000000}"/>
          </ac:cxnSpMkLst>
        </pc:cxnChg>
        <pc:cxnChg chg="add del mod">
          <ac:chgData name="DE JONG, Ruud" userId="067c1632-da17-4d72-b76b-09c00f747912" providerId="ADAL" clId="{22DF285A-C8BC-4B0D-A66D-1830FE0E492E}" dt="2022-12-14T15:32:34.692" v="28650" actId="478"/>
          <ac:cxnSpMkLst>
            <pc:docMk/>
            <pc:sldMk cId="62184735" sldId="1236"/>
            <ac:cxnSpMk id="20" creationId="{1734C90D-0E94-4E2D-BB82-C3BA6525FE67}"/>
          </ac:cxnSpMkLst>
        </pc:cxnChg>
        <pc:cxnChg chg="add mod">
          <ac:chgData name="DE JONG, Ruud" userId="067c1632-da17-4d72-b76b-09c00f747912" providerId="ADAL" clId="{22DF285A-C8BC-4B0D-A66D-1830FE0E492E}" dt="2022-12-14T15:32:42.629" v="28652" actId="14100"/>
          <ac:cxnSpMkLst>
            <pc:docMk/>
            <pc:sldMk cId="62184735" sldId="1236"/>
            <ac:cxnSpMk id="22" creationId="{1D475DD5-7824-48EC-AEFA-FE98EE4E80A3}"/>
          </ac:cxnSpMkLst>
        </pc:cxnChg>
      </pc:sldChg>
      <pc:sldChg chg="add del">
        <pc:chgData name="DE JONG, Ruud" userId="067c1632-da17-4d72-b76b-09c00f747912" providerId="ADAL" clId="{22DF285A-C8BC-4B0D-A66D-1830FE0E492E}" dt="2022-12-14T15:25:41.332" v="28538"/>
        <pc:sldMkLst>
          <pc:docMk/>
          <pc:sldMk cId="390849697" sldId="1236"/>
        </pc:sldMkLst>
      </pc:sldChg>
      <pc:sldChg chg="addSp modSp add mod">
        <pc:chgData name="DE JONG, Ruud" userId="067c1632-da17-4d72-b76b-09c00f747912" providerId="ADAL" clId="{22DF285A-C8BC-4B0D-A66D-1830FE0E492E}" dt="2022-12-14T15:36:14.003" v="28731" actId="692"/>
        <pc:sldMkLst>
          <pc:docMk/>
          <pc:sldMk cId="4108831180" sldId="1237"/>
        </pc:sldMkLst>
        <pc:spChg chg="mod">
          <ac:chgData name="DE JONG, Ruud" userId="067c1632-da17-4d72-b76b-09c00f747912" providerId="ADAL" clId="{22DF285A-C8BC-4B0D-A66D-1830FE0E492E}" dt="2022-12-14T15:33:54.163" v="28693" actId="1036"/>
          <ac:spMkLst>
            <pc:docMk/>
            <pc:sldMk cId="4108831180" sldId="1237"/>
            <ac:spMk id="5" creationId="{00000000-0000-0000-0000-000000000000}"/>
          </ac:spMkLst>
        </pc:spChg>
        <pc:spChg chg="add mod">
          <ac:chgData name="DE JONG, Ruud" userId="067c1632-da17-4d72-b76b-09c00f747912" providerId="ADAL" clId="{22DF285A-C8BC-4B0D-A66D-1830FE0E492E}" dt="2022-12-14T15:34:09.439" v="28697" actId="20577"/>
          <ac:spMkLst>
            <pc:docMk/>
            <pc:sldMk cId="4108831180" sldId="1237"/>
            <ac:spMk id="15" creationId="{8ADBE6CC-0F80-4ABF-9E60-7429290A0672}"/>
          </ac:spMkLst>
        </pc:spChg>
        <pc:spChg chg="add mod">
          <ac:chgData name="DE JONG, Ruud" userId="067c1632-da17-4d72-b76b-09c00f747912" providerId="ADAL" clId="{22DF285A-C8BC-4B0D-A66D-1830FE0E492E}" dt="2022-12-14T15:35:05.927" v="28721" actId="20577"/>
          <ac:spMkLst>
            <pc:docMk/>
            <pc:sldMk cId="4108831180" sldId="1237"/>
            <ac:spMk id="20" creationId="{A690392D-2A0B-41FC-920F-D5BE3E4DF0A2}"/>
          </ac:spMkLst>
        </pc:spChg>
        <pc:spChg chg="add mod">
          <ac:chgData name="DE JONG, Ruud" userId="067c1632-da17-4d72-b76b-09c00f747912" providerId="ADAL" clId="{22DF285A-C8BC-4B0D-A66D-1830FE0E492E}" dt="2022-12-14T15:35:16.406" v="28723" actId="1076"/>
          <ac:spMkLst>
            <pc:docMk/>
            <pc:sldMk cId="4108831180" sldId="1237"/>
            <ac:spMk id="21" creationId="{675BED70-E008-44C4-A61A-46BAD628F18E}"/>
          </ac:spMkLst>
        </pc:spChg>
        <pc:cxnChg chg="add mod">
          <ac:chgData name="DE JONG, Ruud" userId="067c1632-da17-4d72-b76b-09c00f747912" providerId="ADAL" clId="{22DF285A-C8BC-4B0D-A66D-1830FE0E492E}" dt="2022-12-14T15:36:09.748" v="28730" actId="692"/>
          <ac:cxnSpMkLst>
            <pc:docMk/>
            <pc:sldMk cId="4108831180" sldId="1237"/>
            <ac:cxnSpMk id="23" creationId="{084AEC6F-3220-431B-8ADA-CD7D3EF78541}"/>
          </ac:cxnSpMkLst>
        </pc:cxnChg>
        <pc:cxnChg chg="add mod">
          <ac:chgData name="DE JONG, Ruud" userId="067c1632-da17-4d72-b76b-09c00f747912" providerId="ADAL" clId="{22DF285A-C8BC-4B0D-A66D-1830FE0E492E}" dt="2022-12-14T15:36:14.003" v="28731" actId="692"/>
          <ac:cxnSpMkLst>
            <pc:docMk/>
            <pc:sldMk cId="4108831180" sldId="1237"/>
            <ac:cxnSpMk id="24" creationId="{60B72ED0-D6D5-45E1-AC0C-F8EB9C3B4DAE}"/>
          </ac:cxnSpMkLst>
        </pc:cxnChg>
      </pc:sldChg>
      <pc:sldChg chg="addSp modSp add mod">
        <pc:chgData name="DE JONG, Ruud" userId="067c1632-da17-4d72-b76b-09c00f747912" providerId="ADAL" clId="{22DF285A-C8BC-4B0D-A66D-1830FE0E492E}" dt="2022-12-14T15:39:49.963" v="28779" actId="113"/>
        <pc:sldMkLst>
          <pc:docMk/>
          <pc:sldMk cId="3526849921" sldId="1238"/>
        </pc:sldMkLst>
        <pc:spChg chg="mod">
          <ac:chgData name="DE JONG, Ruud" userId="067c1632-da17-4d72-b76b-09c00f747912" providerId="ADAL" clId="{22DF285A-C8BC-4B0D-A66D-1830FE0E492E}" dt="2022-12-14T15:37:07.121" v="28751" actId="1036"/>
          <ac:spMkLst>
            <pc:docMk/>
            <pc:sldMk cId="3526849921" sldId="1238"/>
            <ac:spMk id="5" creationId="{00000000-0000-0000-0000-000000000000}"/>
          </ac:spMkLst>
        </pc:spChg>
        <pc:spChg chg="mod">
          <ac:chgData name="DE JONG, Ruud" userId="067c1632-da17-4d72-b76b-09c00f747912" providerId="ADAL" clId="{22DF285A-C8BC-4B0D-A66D-1830FE0E492E}" dt="2022-12-14T15:39:49.963" v="28779" actId="113"/>
          <ac:spMkLst>
            <pc:docMk/>
            <pc:sldMk cId="3526849921" sldId="1238"/>
            <ac:spMk id="6" creationId="{00000000-0000-0000-0000-000000000000}"/>
          </ac:spMkLst>
        </pc:spChg>
        <pc:spChg chg="mod">
          <ac:chgData name="DE JONG, Ruud" userId="067c1632-da17-4d72-b76b-09c00f747912" providerId="ADAL" clId="{22DF285A-C8BC-4B0D-A66D-1830FE0E492E}" dt="2022-12-14T15:38:44.086" v="28777" actId="1037"/>
          <ac:spMkLst>
            <pc:docMk/>
            <pc:sldMk cId="3526849921" sldId="1238"/>
            <ac:spMk id="8" creationId="{00000000-0000-0000-0000-000000000000}"/>
          </ac:spMkLst>
        </pc:spChg>
        <pc:spChg chg="add mod">
          <ac:chgData name="DE JONG, Ruud" userId="067c1632-da17-4d72-b76b-09c00f747912" providerId="ADAL" clId="{22DF285A-C8BC-4B0D-A66D-1830FE0E492E}" dt="2022-12-14T15:36:56.856" v="28732"/>
          <ac:spMkLst>
            <pc:docMk/>
            <pc:sldMk cId="3526849921" sldId="1238"/>
            <ac:spMk id="15" creationId="{1AB3ED0D-3233-440D-B3E8-7E5C03623DAE}"/>
          </ac:spMkLst>
        </pc:spChg>
        <pc:spChg chg="add mod">
          <ac:chgData name="DE JONG, Ruud" userId="067c1632-da17-4d72-b76b-09c00f747912" providerId="ADAL" clId="{22DF285A-C8BC-4B0D-A66D-1830FE0E492E}" dt="2022-12-14T15:36:56.856" v="28732"/>
          <ac:spMkLst>
            <pc:docMk/>
            <pc:sldMk cId="3526849921" sldId="1238"/>
            <ac:spMk id="20" creationId="{FD0F5B63-A052-4AF1-9AFE-4E12D5CD2497}"/>
          </ac:spMkLst>
        </pc:spChg>
        <pc:spChg chg="add mod">
          <ac:chgData name="DE JONG, Ruud" userId="067c1632-da17-4d72-b76b-09c00f747912" providerId="ADAL" clId="{22DF285A-C8BC-4B0D-A66D-1830FE0E492E}" dt="2022-12-14T15:36:56.856" v="28732"/>
          <ac:spMkLst>
            <pc:docMk/>
            <pc:sldMk cId="3526849921" sldId="1238"/>
            <ac:spMk id="21" creationId="{4E6899A5-5F0F-4240-9EA8-671D624E24EE}"/>
          </ac:spMkLst>
        </pc:spChg>
        <pc:spChg chg="add mod">
          <ac:chgData name="DE JONG, Ruud" userId="067c1632-da17-4d72-b76b-09c00f747912" providerId="ADAL" clId="{22DF285A-C8BC-4B0D-A66D-1830FE0E492E}" dt="2022-12-14T15:38:19.858" v="28775" actId="1036"/>
          <ac:spMkLst>
            <pc:docMk/>
            <pc:sldMk cId="3526849921" sldId="1238"/>
            <ac:spMk id="25" creationId="{DD3E8363-DAD0-4875-BB27-655611AC737B}"/>
          </ac:spMkLst>
        </pc:spChg>
        <pc:spChg chg="add mod">
          <ac:chgData name="DE JONG, Ruud" userId="067c1632-da17-4d72-b76b-09c00f747912" providerId="ADAL" clId="{22DF285A-C8BC-4B0D-A66D-1830FE0E492E}" dt="2022-12-14T15:38:36.329" v="28776"/>
          <ac:spMkLst>
            <pc:docMk/>
            <pc:sldMk cId="3526849921" sldId="1238"/>
            <ac:spMk id="26" creationId="{5C6ECE34-E301-4CF1-A276-F8AA3AD6DB14}"/>
          </ac:spMkLst>
        </pc:spChg>
        <pc:cxnChg chg="mod">
          <ac:chgData name="DE JONG, Ruud" userId="067c1632-da17-4d72-b76b-09c00f747912" providerId="ADAL" clId="{22DF285A-C8BC-4B0D-A66D-1830FE0E492E}" dt="2022-12-14T15:38:19.858" v="28775" actId="1036"/>
          <ac:cxnSpMkLst>
            <pc:docMk/>
            <pc:sldMk cId="3526849921" sldId="1238"/>
            <ac:cxnSpMk id="22" creationId="{1D475DD5-7824-48EC-AEFA-FE98EE4E80A3}"/>
          </ac:cxnSpMkLst>
        </pc:cxnChg>
        <pc:cxnChg chg="add mod">
          <ac:chgData name="DE JONG, Ruud" userId="067c1632-da17-4d72-b76b-09c00f747912" providerId="ADAL" clId="{22DF285A-C8BC-4B0D-A66D-1830FE0E492E}" dt="2022-12-14T15:36:56.856" v="28732"/>
          <ac:cxnSpMkLst>
            <pc:docMk/>
            <pc:sldMk cId="3526849921" sldId="1238"/>
            <ac:cxnSpMk id="23" creationId="{89015841-94C6-4502-A55F-45A1C32B3232}"/>
          </ac:cxnSpMkLst>
        </pc:cxnChg>
        <pc:cxnChg chg="add mod">
          <ac:chgData name="DE JONG, Ruud" userId="067c1632-da17-4d72-b76b-09c00f747912" providerId="ADAL" clId="{22DF285A-C8BC-4B0D-A66D-1830FE0E492E}" dt="2022-12-14T15:36:56.856" v="28732"/>
          <ac:cxnSpMkLst>
            <pc:docMk/>
            <pc:sldMk cId="3526849921" sldId="1238"/>
            <ac:cxnSpMk id="24" creationId="{11B8F9F2-DEEB-4001-A53A-37BD1661BE8F}"/>
          </ac:cxnSpMkLst>
        </pc:cxnChg>
      </pc:sldChg>
      <pc:sldChg chg="addSp delSp modSp add mod modClrScheme chgLayout">
        <pc:chgData name="DE JONG, Ruud" userId="067c1632-da17-4d72-b76b-09c00f747912" providerId="ADAL" clId="{22DF285A-C8BC-4B0D-A66D-1830FE0E492E}" dt="2022-12-14T16:53:36.326" v="30375" actId="20577"/>
        <pc:sldMkLst>
          <pc:docMk/>
          <pc:sldMk cId="3249202596" sldId="1239"/>
        </pc:sldMkLst>
        <pc:spChg chg="mod ord">
          <ac:chgData name="DE JONG, Ruud" userId="067c1632-da17-4d72-b76b-09c00f747912" providerId="ADAL" clId="{22DF285A-C8BC-4B0D-A66D-1830FE0E492E}" dt="2022-12-14T16:28:04.908" v="29763" actId="700"/>
          <ac:spMkLst>
            <pc:docMk/>
            <pc:sldMk cId="3249202596" sldId="1239"/>
            <ac:spMk id="2" creationId="{00000000-0000-0000-0000-000000000000}"/>
          </ac:spMkLst>
        </pc:spChg>
        <pc:spChg chg="del mod ord">
          <ac:chgData name="DE JONG, Ruud" userId="067c1632-da17-4d72-b76b-09c00f747912" providerId="ADAL" clId="{22DF285A-C8BC-4B0D-A66D-1830FE0E492E}" dt="2022-12-14T16:30:43.407" v="29821" actId="478"/>
          <ac:spMkLst>
            <pc:docMk/>
            <pc:sldMk cId="3249202596" sldId="1239"/>
            <ac:spMk id="3" creationId="{00000000-0000-0000-0000-000000000000}"/>
          </ac:spMkLst>
        </pc:spChg>
        <pc:spChg chg="add del mod ord">
          <ac:chgData name="DE JONG, Ruud" userId="067c1632-da17-4d72-b76b-09c00f747912" providerId="ADAL" clId="{22DF285A-C8BC-4B0D-A66D-1830FE0E492E}" dt="2022-12-14T16:30:50.433" v="29822" actId="478"/>
          <ac:spMkLst>
            <pc:docMk/>
            <pc:sldMk cId="3249202596" sldId="1239"/>
            <ac:spMk id="4" creationId="{05FB84E1-89B6-4752-94F0-F4B394CAE126}"/>
          </ac:spMkLst>
        </pc:spChg>
        <pc:spChg chg="add del mod ord">
          <ac:chgData name="DE JONG, Ruud" userId="067c1632-da17-4d72-b76b-09c00f747912" providerId="ADAL" clId="{22DF285A-C8BC-4B0D-A66D-1830FE0E492E}" dt="2022-12-14T16:30:43.407" v="29821" actId="478"/>
          <ac:spMkLst>
            <pc:docMk/>
            <pc:sldMk cId="3249202596" sldId="1239"/>
            <ac:spMk id="5" creationId="{71073DA3-A358-4792-8F7B-5C8982BB902C}"/>
          </ac:spMkLst>
        </pc:spChg>
        <pc:spChg chg="add del mod ord">
          <ac:chgData name="DE JONG, Ruud" userId="067c1632-da17-4d72-b76b-09c00f747912" providerId="ADAL" clId="{22DF285A-C8BC-4B0D-A66D-1830FE0E492E}" dt="2022-12-14T16:30:50.433" v="29822" actId="478"/>
          <ac:spMkLst>
            <pc:docMk/>
            <pc:sldMk cId="3249202596" sldId="1239"/>
            <ac:spMk id="6" creationId="{CBFB50A7-DA3D-4416-9A49-BD2E40E68B21}"/>
          </ac:spMkLst>
        </pc:spChg>
        <pc:spChg chg="add del mod ord">
          <ac:chgData name="DE JONG, Ruud" userId="067c1632-da17-4d72-b76b-09c00f747912" providerId="ADAL" clId="{22DF285A-C8BC-4B0D-A66D-1830FE0E492E}" dt="2022-12-14T16:30:43.407" v="29821" actId="478"/>
          <ac:spMkLst>
            <pc:docMk/>
            <pc:sldMk cId="3249202596" sldId="1239"/>
            <ac:spMk id="7" creationId="{71569BC1-9287-47F6-A33C-6D8DE30C31AA}"/>
          </ac:spMkLst>
        </pc:spChg>
        <pc:spChg chg="add del mod ord">
          <ac:chgData name="DE JONG, Ruud" userId="067c1632-da17-4d72-b76b-09c00f747912" providerId="ADAL" clId="{22DF285A-C8BC-4B0D-A66D-1830FE0E492E}" dt="2022-12-14T16:30:50.433" v="29822" actId="478"/>
          <ac:spMkLst>
            <pc:docMk/>
            <pc:sldMk cId="3249202596" sldId="1239"/>
            <ac:spMk id="8" creationId="{5C42FFC9-E8A4-4725-B7DB-ABBD2E82BA69}"/>
          </ac:spMkLst>
        </pc:spChg>
        <pc:spChg chg="add mod">
          <ac:chgData name="DE JONG, Ruud" userId="067c1632-da17-4d72-b76b-09c00f747912" providerId="ADAL" clId="{22DF285A-C8BC-4B0D-A66D-1830FE0E492E}" dt="2022-12-14T16:33:02.637" v="29861" actId="1036"/>
          <ac:spMkLst>
            <pc:docMk/>
            <pc:sldMk cId="3249202596" sldId="1239"/>
            <ac:spMk id="9" creationId="{121B8BB9-FF18-4702-A123-624C8E75B8DA}"/>
          </ac:spMkLst>
        </pc:spChg>
        <pc:spChg chg="add del mod">
          <ac:chgData name="DE JONG, Ruud" userId="067c1632-da17-4d72-b76b-09c00f747912" providerId="ADAL" clId="{22DF285A-C8BC-4B0D-A66D-1830FE0E492E}" dt="2022-12-14T16:31:01.163" v="29825" actId="478"/>
          <ac:spMkLst>
            <pc:docMk/>
            <pc:sldMk cId="3249202596" sldId="1239"/>
            <ac:spMk id="11" creationId="{6592D47B-1BC6-4A0D-B7AF-7DEE8EE59319}"/>
          </ac:spMkLst>
        </pc:spChg>
        <pc:spChg chg="add del mod">
          <ac:chgData name="DE JONG, Ruud" userId="067c1632-da17-4d72-b76b-09c00f747912" providerId="ADAL" clId="{22DF285A-C8BC-4B0D-A66D-1830FE0E492E}" dt="2022-12-14T16:30:55.345" v="29823" actId="478"/>
          <ac:spMkLst>
            <pc:docMk/>
            <pc:sldMk cId="3249202596" sldId="1239"/>
            <ac:spMk id="13" creationId="{547557F4-52DC-424D-8241-EEA9AF771D74}"/>
          </ac:spMkLst>
        </pc:spChg>
        <pc:spChg chg="add del mod">
          <ac:chgData name="DE JONG, Ruud" userId="067c1632-da17-4d72-b76b-09c00f747912" providerId="ADAL" clId="{22DF285A-C8BC-4B0D-A66D-1830FE0E492E}" dt="2022-12-14T16:30:56.658" v="29824" actId="478"/>
          <ac:spMkLst>
            <pc:docMk/>
            <pc:sldMk cId="3249202596" sldId="1239"/>
            <ac:spMk id="15" creationId="{1C617C32-A426-497B-AB35-64693857D9A2}"/>
          </ac:spMkLst>
        </pc:spChg>
        <pc:spChg chg="add mod">
          <ac:chgData name="DE JONG, Ruud" userId="067c1632-da17-4d72-b76b-09c00f747912" providerId="ADAL" clId="{22DF285A-C8BC-4B0D-A66D-1830FE0E492E}" dt="2022-12-14T16:39:16.031" v="29977" actId="14100"/>
          <ac:spMkLst>
            <pc:docMk/>
            <pc:sldMk cId="3249202596" sldId="1239"/>
            <ac:spMk id="17" creationId="{0B743D81-0BF3-43DB-8659-D2DE81CB12B7}"/>
          </ac:spMkLst>
        </pc:spChg>
        <pc:spChg chg="add mod">
          <ac:chgData name="DE JONG, Ruud" userId="067c1632-da17-4d72-b76b-09c00f747912" providerId="ADAL" clId="{22DF285A-C8BC-4B0D-A66D-1830FE0E492E}" dt="2022-12-14T16:53:36.326" v="30375" actId="20577"/>
          <ac:spMkLst>
            <pc:docMk/>
            <pc:sldMk cId="3249202596" sldId="1239"/>
            <ac:spMk id="18" creationId="{CEB6B9A5-42D6-4A31-A5F7-32168EE9333A}"/>
          </ac:spMkLst>
        </pc:spChg>
        <pc:spChg chg="add mod">
          <ac:chgData name="DE JONG, Ruud" userId="067c1632-da17-4d72-b76b-09c00f747912" providerId="ADAL" clId="{22DF285A-C8BC-4B0D-A66D-1830FE0E492E}" dt="2022-12-14T16:34:55.928" v="29881" actId="1076"/>
          <ac:spMkLst>
            <pc:docMk/>
            <pc:sldMk cId="3249202596" sldId="1239"/>
            <ac:spMk id="19" creationId="{50FCDBE7-D03C-4FAC-9F38-188272B01772}"/>
          </ac:spMkLst>
        </pc:spChg>
        <pc:spChg chg="add mod">
          <ac:chgData name="DE JONG, Ruud" userId="067c1632-da17-4d72-b76b-09c00f747912" providerId="ADAL" clId="{22DF285A-C8BC-4B0D-A66D-1830FE0E492E}" dt="2022-12-14T16:40:57.383" v="30030" actId="1037"/>
          <ac:spMkLst>
            <pc:docMk/>
            <pc:sldMk cId="3249202596" sldId="1239"/>
            <ac:spMk id="20" creationId="{1ABCE3D1-7049-4F44-8AA6-1707F925F40F}"/>
          </ac:spMkLst>
        </pc:spChg>
        <pc:spChg chg="add del mod">
          <ac:chgData name="DE JONG, Ruud" userId="067c1632-da17-4d72-b76b-09c00f747912" providerId="ADAL" clId="{22DF285A-C8BC-4B0D-A66D-1830FE0E492E}" dt="2022-12-14T16:34:39.250" v="29876" actId="478"/>
          <ac:spMkLst>
            <pc:docMk/>
            <pc:sldMk cId="3249202596" sldId="1239"/>
            <ac:spMk id="21" creationId="{54E5AAEA-4F99-4D25-BE70-40BB55CC9646}"/>
          </ac:spMkLst>
        </pc:spChg>
        <pc:spChg chg="add del mod">
          <ac:chgData name="DE JONG, Ruud" userId="067c1632-da17-4d72-b76b-09c00f747912" providerId="ADAL" clId="{22DF285A-C8BC-4B0D-A66D-1830FE0E492E}" dt="2022-12-14T16:35:00.484" v="29882" actId="478"/>
          <ac:spMkLst>
            <pc:docMk/>
            <pc:sldMk cId="3249202596" sldId="1239"/>
            <ac:spMk id="22" creationId="{5275B8CC-5662-436D-BA21-17401C464B75}"/>
          </ac:spMkLst>
        </pc:spChg>
        <pc:spChg chg="add del mod">
          <ac:chgData name="DE JONG, Ruud" userId="067c1632-da17-4d72-b76b-09c00f747912" providerId="ADAL" clId="{22DF285A-C8BC-4B0D-A66D-1830FE0E492E}" dt="2022-12-14T16:33:56.799" v="29865" actId="478"/>
          <ac:spMkLst>
            <pc:docMk/>
            <pc:sldMk cId="3249202596" sldId="1239"/>
            <ac:spMk id="23" creationId="{38381299-7656-4F35-B105-A95463487049}"/>
          </ac:spMkLst>
        </pc:spChg>
        <pc:spChg chg="add mod">
          <ac:chgData name="DE JONG, Ruud" userId="067c1632-da17-4d72-b76b-09c00f747912" providerId="ADAL" clId="{22DF285A-C8BC-4B0D-A66D-1830FE0E492E}" dt="2022-12-14T16:34:30.104" v="29875" actId="1076"/>
          <ac:spMkLst>
            <pc:docMk/>
            <pc:sldMk cId="3249202596" sldId="1239"/>
            <ac:spMk id="25" creationId="{F978D73F-CA7A-4487-B058-308D11FED727}"/>
          </ac:spMkLst>
        </pc:spChg>
        <pc:spChg chg="add mod">
          <ac:chgData name="DE JONG, Ruud" userId="067c1632-da17-4d72-b76b-09c00f747912" providerId="ADAL" clId="{22DF285A-C8BC-4B0D-A66D-1830FE0E492E}" dt="2022-12-14T16:34:23.419" v="29874" actId="1076"/>
          <ac:spMkLst>
            <pc:docMk/>
            <pc:sldMk cId="3249202596" sldId="1239"/>
            <ac:spMk id="26" creationId="{83CD12A6-A613-49EC-92F2-1C59D18F9CA0}"/>
          </ac:spMkLst>
        </pc:spChg>
        <pc:spChg chg="add del mod">
          <ac:chgData name="DE JONG, Ruud" userId="067c1632-da17-4d72-b76b-09c00f747912" providerId="ADAL" clId="{22DF285A-C8BC-4B0D-A66D-1830FE0E492E}" dt="2022-12-14T16:33:58.320" v="29866" actId="478"/>
          <ac:spMkLst>
            <pc:docMk/>
            <pc:sldMk cId="3249202596" sldId="1239"/>
            <ac:spMk id="27" creationId="{0E560422-9B73-4C15-91CD-CD73718E5C3F}"/>
          </ac:spMkLst>
        </pc:spChg>
        <pc:spChg chg="add del mod">
          <ac:chgData name="DE JONG, Ruud" userId="067c1632-da17-4d72-b76b-09c00f747912" providerId="ADAL" clId="{22DF285A-C8BC-4B0D-A66D-1830FE0E492E}" dt="2022-12-14T16:33:59.593" v="29867" actId="478"/>
          <ac:spMkLst>
            <pc:docMk/>
            <pc:sldMk cId="3249202596" sldId="1239"/>
            <ac:spMk id="28" creationId="{B177F8F1-9E55-492C-B364-41AD66D4A382}"/>
          </ac:spMkLst>
        </pc:spChg>
        <pc:spChg chg="add mod">
          <ac:chgData name="DE JONG, Ruud" userId="067c1632-da17-4d72-b76b-09c00f747912" providerId="ADAL" clId="{22DF285A-C8BC-4B0D-A66D-1830FE0E492E}" dt="2022-12-14T16:37:18.788" v="29949" actId="20577"/>
          <ac:spMkLst>
            <pc:docMk/>
            <pc:sldMk cId="3249202596" sldId="1239"/>
            <ac:spMk id="30" creationId="{46F0A5E8-09FF-4D47-8197-7DCF3E6C8C93}"/>
          </ac:spMkLst>
        </pc:spChg>
        <pc:spChg chg="add mod">
          <ac:chgData name="DE JONG, Ruud" userId="067c1632-da17-4d72-b76b-09c00f747912" providerId="ADAL" clId="{22DF285A-C8BC-4B0D-A66D-1830FE0E492E}" dt="2022-12-14T16:36:18.498" v="29922" actId="20577"/>
          <ac:spMkLst>
            <pc:docMk/>
            <pc:sldMk cId="3249202596" sldId="1239"/>
            <ac:spMk id="31" creationId="{3E75E170-BB53-4A45-ADD8-B5F43143D9CC}"/>
          </ac:spMkLst>
        </pc:spChg>
        <pc:spChg chg="add del mod">
          <ac:chgData name="DE JONG, Ruud" userId="067c1632-da17-4d72-b76b-09c00f747912" providerId="ADAL" clId="{22DF285A-C8BC-4B0D-A66D-1830FE0E492E}" dt="2022-12-14T16:50:49.138" v="30328" actId="478"/>
          <ac:spMkLst>
            <pc:docMk/>
            <pc:sldMk cId="3249202596" sldId="1239"/>
            <ac:spMk id="32" creationId="{73B1A791-50FD-4913-9DD8-5A9931A3CEA3}"/>
          </ac:spMkLst>
        </pc:spChg>
        <pc:spChg chg="add mod">
          <ac:chgData name="DE JONG, Ruud" userId="067c1632-da17-4d72-b76b-09c00f747912" providerId="ADAL" clId="{22DF285A-C8BC-4B0D-A66D-1830FE0E492E}" dt="2022-12-14T16:38:08.201" v="29963" actId="20577"/>
          <ac:spMkLst>
            <pc:docMk/>
            <pc:sldMk cId="3249202596" sldId="1239"/>
            <ac:spMk id="33" creationId="{4CF14BE8-8EC1-4C1C-B8E9-C6B5CC4FC7AE}"/>
          </ac:spMkLst>
        </pc:spChg>
        <pc:spChg chg="add mod">
          <ac:chgData name="DE JONG, Ruud" userId="067c1632-da17-4d72-b76b-09c00f747912" providerId="ADAL" clId="{22DF285A-C8BC-4B0D-A66D-1830FE0E492E}" dt="2022-12-14T16:40:18.058" v="29998" actId="1035"/>
          <ac:spMkLst>
            <pc:docMk/>
            <pc:sldMk cId="3249202596" sldId="1239"/>
            <ac:spMk id="34" creationId="{234EB465-D778-4B6E-AD5D-896875771B3D}"/>
          </ac:spMkLst>
        </pc:spChg>
        <pc:picChg chg="add del mod">
          <ac:chgData name="DE JONG, Ruud" userId="067c1632-da17-4d72-b76b-09c00f747912" providerId="ADAL" clId="{22DF285A-C8BC-4B0D-A66D-1830FE0E492E}" dt="2022-12-14T16:33:35.762" v="29863" actId="478"/>
          <ac:picMkLst>
            <pc:docMk/>
            <pc:sldMk cId="3249202596" sldId="1239"/>
            <ac:picMk id="16" creationId="{72AD479A-7BB5-4A76-862C-D38F3C46C321}"/>
          </ac:picMkLst>
        </pc:picChg>
        <pc:cxnChg chg="add del mod">
          <ac:chgData name="DE JONG, Ruud" userId="067c1632-da17-4d72-b76b-09c00f747912" providerId="ADAL" clId="{22DF285A-C8BC-4B0D-A66D-1830FE0E492E}" dt="2022-12-14T16:34:02.394" v="29869" actId="478"/>
          <ac:cxnSpMkLst>
            <pc:docMk/>
            <pc:sldMk cId="3249202596" sldId="1239"/>
            <ac:cxnSpMk id="24" creationId="{2A55B4C7-E84E-4A1D-88AD-6879B4D6743B}"/>
          </ac:cxnSpMkLst>
        </pc:cxnChg>
        <pc:cxnChg chg="add del mod">
          <ac:chgData name="DE JONG, Ruud" userId="067c1632-da17-4d72-b76b-09c00f747912" providerId="ADAL" clId="{22DF285A-C8BC-4B0D-A66D-1830FE0E492E}" dt="2022-12-14T16:34:00.991" v="29868" actId="478"/>
          <ac:cxnSpMkLst>
            <pc:docMk/>
            <pc:sldMk cId="3249202596" sldId="1239"/>
            <ac:cxnSpMk id="29" creationId="{991F759F-B000-417D-A4C7-EFF4BBE2F2B1}"/>
          </ac:cxnSpMkLst>
        </pc:cxnChg>
        <pc:cxnChg chg="add mod">
          <ac:chgData name="DE JONG, Ruud" userId="067c1632-da17-4d72-b76b-09c00f747912" providerId="ADAL" clId="{22DF285A-C8BC-4B0D-A66D-1830FE0E492E}" dt="2022-12-14T16:40:44.464" v="30002" actId="692"/>
          <ac:cxnSpMkLst>
            <pc:docMk/>
            <pc:sldMk cId="3249202596" sldId="1239"/>
            <ac:cxnSpMk id="35" creationId="{BE812E55-86D7-4454-B057-35ECFB002A8D}"/>
          </ac:cxnSpMkLst>
        </pc:cxnChg>
        <pc:cxnChg chg="add mod">
          <ac:chgData name="DE JONG, Ruud" userId="067c1632-da17-4d72-b76b-09c00f747912" providerId="ADAL" clId="{22DF285A-C8BC-4B0D-A66D-1830FE0E492E}" dt="2022-12-14T16:40:18.058" v="29998" actId="1035"/>
          <ac:cxnSpMkLst>
            <pc:docMk/>
            <pc:sldMk cId="3249202596" sldId="1239"/>
            <ac:cxnSpMk id="38" creationId="{00FA3E20-D9E5-4128-A360-DB8E311C8E69}"/>
          </ac:cxnSpMkLst>
        </pc:cxnChg>
      </pc:sldChg>
      <pc:sldChg chg="add del">
        <pc:chgData name="DE JONG, Ruud" userId="067c1632-da17-4d72-b76b-09c00f747912" providerId="ADAL" clId="{22DF285A-C8BC-4B0D-A66D-1830FE0E492E}" dt="2022-12-14T16:31:41.838" v="29827"/>
        <pc:sldMkLst>
          <pc:docMk/>
          <pc:sldMk cId="407091313" sldId="1240"/>
        </pc:sldMkLst>
      </pc:sldChg>
      <pc:sldChg chg="add del">
        <pc:chgData name="DE JONG, Ruud" userId="067c1632-da17-4d72-b76b-09c00f747912" providerId="ADAL" clId="{22DF285A-C8BC-4B0D-A66D-1830FE0E492E}" dt="2022-12-14T17:01:24.297" v="30636" actId="47"/>
        <pc:sldMkLst>
          <pc:docMk/>
          <pc:sldMk cId="4022442918" sldId="1240"/>
        </pc:sldMkLst>
      </pc:sldChg>
      <pc:sldChg chg="addSp modSp add mod">
        <pc:chgData name="DE JONG, Ruud" userId="067c1632-da17-4d72-b76b-09c00f747912" providerId="ADAL" clId="{22DF285A-C8BC-4B0D-A66D-1830FE0E492E}" dt="2022-12-14T17:03:49.467" v="30644" actId="114"/>
        <pc:sldMkLst>
          <pc:docMk/>
          <pc:sldMk cId="2259344107" sldId="1241"/>
        </pc:sldMkLst>
        <pc:spChg chg="mod">
          <ac:chgData name="DE JONG, Ruud" userId="067c1632-da17-4d72-b76b-09c00f747912" providerId="ADAL" clId="{22DF285A-C8BC-4B0D-A66D-1830FE0E492E}" dt="2022-12-14T17:02:10.235" v="30641" actId="1035"/>
          <ac:spMkLst>
            <pc:docMk/>
            <pc:sldMk cId="2259344107" sldId="1241"/>
            <ac:spMk id="17" creationId="{0B743D81-0BF3-43DB-8659-D2DE81CB12B7}"/>
          </ac:spMkLst>
        </pc:spChg>
        <pc:spChg chg="mod">
          <ac:chgData name="DE JONG, Ruud" userId="067c1632-da17-4d72-b76b-09c00f747912" providerId="ADAL" clId="{22DF285A-C8BC-4B0D-A66D-1830FE0E492E}" dt="2022-12-14T17:03:49.467" v="30644" actId="114"/>
          <ac:spMkLst>
            <pc:docMk/>
            <pc:sldMk cId="2259344107" sldId="1241"/>
            <ac:spMk id="18" creationId="{CEB6B9A5-42D6-4A31-A5F7-32168EE9333A}"/>
          </ac:spMkLst>
        </pc:spChg>
        <pc:spChg chg="add mod">
          <ac:chgData name="DE JONG, Ruud" userId="067c1632-da17-4d72-b76b-09c00f747912" providerId="ADAL" clId="{22DF285A-C8BC-4B0D-A66D-1830FE0E492E}" dt="2022-12-14T16:44:36.751" v="30098" actId="20577"/>
          <ac:spMkLst>
            <pc:docMk/>
            <pc:sldMk cId="2259344107" sldId="1241"/>
            <ac:spMk id="21" creationId="{E0B614FF-DAAA-4002-AE4B-3806D9718A71}"/>
          </ac:spMkLst>
        </pc:spChg>
        <pc:spChg chg="add mod">
          <ac:chgData name="DE JONG, Ruud" userId="067c1632-da17-4d72-b76b-09c00f747912" providerId="ADAL" clId="{22DF285A-C8BC-4B0D-A66D-1830FE0E492E}" dt="2022-12-14T16:44:51.181" v="30101" actId="20577"/>
          <ac:spMkLst>
            <pc:docMk/>
            <pc:sldMk cId="2259344107" sldId="1241"/>
            <ac:spMk id="22" creationId="{08F0CF77-98F6-48B1-9723-A9156F099FC4}"/>
          </ac:spMkLst>
        </pc:spChg>
        <pc:spChg chg="mod">
          <ac:chgData name="DE JONG, Ruud" userId="067c1632-da17-4d72-b76b-09c00f747912" providerId="ADAL" clId="{22DF285A-C8BC-4B0D-A66D-1830FE0E492E}" dt="2022-12-14T16:44:16.941" v="30094" actId="20577"/>
          <ac:spMkLst>
            <pc:docMk/>
            <pc:sldMk cId="2259344107" sldId="1241"/>
            <ac:spMk id="31" creationId="{3E75E170-BB53-4A45-ADD8-B5F43143D9CC}"/>
          </ac:spMkLst>
        </pc:spChg>
        <pc:spChg chg="mod">
          <ac:chgData name="DE JONG, Ruud" userId="067c1632-da17-4d72-b76b-09c00f747912" providerId="ADAL" clId="{22DF285A-C8BC-4B0D-A66D-1830FE0E492E}" dt="2022-12-14T16:52:55.598" v="30364" actId="1036"/>
          <ac:spMkLst>
            <pc:docMk/>
            <pc:sldMk cId="2259344107" sldId="1241"/>
            <ac:spMk id="32" creationId="{73B1A791-50FD-4913-9DD8-5A9931A3CEA3}"/>
          </ac:spMkLst>
        </pc:spChg>
        <pc:cxnChg chg="add mod">
          <ac:chgData name="DE JONG, Ruud" userId="067c1632-da17-4d72-b76b-09c00f747912" providerId="ADAL" clId="{22DF285A-C8BC-4B0D-A66D-1830FE0E492E}" dt="2022-12-14T16:45:28.981" v="30111" actId="14100"/>
          <ac:cxnSpMkLst>
            <pc:docMk/>
            <pc:sldMk cId="2259344107" sldId="1241"/>
            <ac:cxnSpMk id="23" creationId="{527BFD43-8F11-427E-A8FA-B23F952BFBC6}"/>
          </ac:cxnSpMkLst>
        </pc:cxnChg>
        <pc:cxnChg chg="add mod">
          <ac:chgData name="DE JONG, Ruud" userId="067c1632-da17-4d72-b76b-09c00f747912" providerId="ADAL" clId="{22DF285A-C8BC-4B0D-A66D-1830FE0E492E}" dt="2022-12-14T16:52:55.598" v="30364" actId="1036"/>
          <ac:cxnSpMkLst>
            <pc:docMk/>
            <pc:sldMk cId="2259344107" sldId="1241"/>
            <ac:cxnSpMk id="24" creationId="{BED38696-6A6F-4EEA-93EC-405DFB082FE9}"/>
          </ac:cxnSpMkLst>
        </pc:cxnChg>
        <pc:cxnChg chg="mod">
          <ac:chgData name="DE JONG, Ruud" userId="067c1632-da17-4d72-b76b-09c00f747912" providerId="ADAL" clId="{22DF285A-C8BC-4B0D-A66D-1830FE0E492E}" dt="2022-12-14T16:44:16.941" v="30094" actId="20577"/>
          <ac:cxnSpMkLst>
            <pc:docMk/>
            <pc:sldMk cId="2259344107" sldId="1241"/>
            <ac:cxnSpMk id="35" creationId="{BE812E55-86D7-4454-B057-35ECFB002A8D}"/>
          </ac:cxnSpMkLst>
        </pc:cxnChg>
        <pc:cxnChg chg="mod">
          <ac:chgData name="DE JONG, Ruud" userId="067c1632-da17-4d72-b76b-09c00f747912" providerId="ADAL" clId="{22DF285A-C8BC-4B0D-A66D-1830FE0E492E}" dt="2022-12-14T16:45:14.163" v="30107" actId="692"/>
          <ac:cxnSpMkLst>
            <pc:docMk/>
            <pc:sldMk cId="2259344107" sldId="1241"/>
            <ac:cxnSpMk id="38" creationId="{00FA3E20-D9E5-4128-A360-DB8E311C8E69}"/>
          </ac:cxnSpMkLst>
        </pc:cxnChg>
      </pc:sldChg>
      <pc:sldChg chg="addSp modSp add del mod">
        <pc:chgData name="DE JONG, Ruud" userId="067c1632-da17-4d72-b76b-09c00f747912" providerId="ADAL" clId="{22DF285A-C8BC-4B0D-A66D-1830FE0E492E}" dt="2022-12-14T17:01:22.935" v="30635" actId="47"/>
        <pc:sldMkLst>
          <pc:docMk/>
          <pc:sldMk cId="3741398752" sldId="1242"/>
        </pc:sldMkLst>
        <pc:spChg chg="mod">
          <ac:chgData name="DE JONG, Ruud" userId="067c1632-da17-4d72-b76b-09c00f747912" providerId="ADAL" clId="{22DF285A-C8BC-4B0D-A66D-1830FE0E492E}" dt="2022-12-14T16:47:54.860" v="30194" actId="1035"/>
          <ac:spMkLst>
            <pc:docMk/>
            <pc:sldMk cId="3741398752" sldId="1242"/>
            <ac:spMk id="17" creationId="{0B743D81-0BF3-43DB-8659-D2DE81CB12B7}"/>
          </ac:spMkLst>
        </pc:spChg>
        <pc:spChg chg="mod">
          <ac:chgData name="DE JONG, Ruud" userId="067c1632-da17-4d72-b76b-09c00f747912" providerId="ADAL" clId="{22DF285A-C8BC-4B0D-A66D-1830FE0E492E}" dt="2022-12-14T16:49:39.201" v="30251" actId="20577"/>
          <ac:spMkLst>
            <pc:docMk/>
            <pc:sldMk cId="3741398752" sldId="1242"/>
            <ac:spMk id="18" creationId="{CEB6B9A5-42D6-4A31-A5F7-32168EE9333A}"/>
          </ac:spMkLst>
        </pc:spChg>
        <pc:spChg chg="add mod">
          <ac:chgData name="DE JONG, Ruud" userId="067c1632-da17-4d72-b76b-09c00f747912" providerId="ADAL" clId="{22DF285A-C8BC-4B0D-A66D-1830FE0E492E}" dt="2022-12-14T16:48:31.519" v="30201" actId="20577"/>
          <ac:spMkLst>
            <pc:docMk/>
            <pc:sldMk cId="3741398752" sldId="1242"/>
            <ac:spMk id="27" creationId="{489EB031-72DB-4780-B659-BE59272AE5BA}"/>
          </ac:spMkLst>
        </pc:spChg>
        <pc:spChg chg="mod">
          <ac:chgData name="DE JONG, Ruud" userId="067c1632-da17-4d72-b76b-09c00f747912" providerId="ADAL" clId="{22DF285A-C8BC-4B0D-A66D-1830FE0E492E}" dt="2022-12-14T16:48:19.567" v="30197" actId="20577"/>
          <ac:spMkLst>
            <pc:docMk/>
            <pc:sldMk cId="3741398752" sldId="1242"/>
            <ac:spMk id="32" creationId="{73B1A791-50FD-4913-9DD8-5A9931A3CEA3}"/>
          </ac:spMkLst>
        </pc:spChg>
        <pc:cxnChg chg="mod">
          <ac:chgData name="DE JONG, Ruud" userId="067c1632-da17-4d72-b76b-09c00f747912" providerId="ADAL" clId="{22DF285A-C8BC-4B0D-A66D-1830FE0E492E}" dt="2022-12-14T16:48:19.567" v="30197" actId="20577"/>
          <ac:cxnSpMkLst>
            <pc:docMk/>
            <pc:sldMk cId="3741398752" sldId="1242"/>
            <ac:cxnSpMk id="24" creationId="{BED38696-6A6F-4EEA-93EC-405DFB082FE9}"/>
          </ac:cxnSpMkLst>
        </pc:cxnChg>
        <pc:cxnChg chg="add mod">
          <ac:chgData name="DE JONG, Ruud" userId="067c1632-da17-4d72-b76b-09c00f747912" providerId="ADAL" clId="{22DF285A-C8BC-4B0D-A66D-1830FE0E492E}" dt="2022-12-14T16:48:48.417" v="30205" actId="14100"/>
          <ac:cxnSpMkLst>
            <pc:docMk/>
            <pc:sldMk cId="3741398752" sldId="1242"/>
            <ac:cxnSpMk id="28" creationId="{FFBC6B8C-C034-444A-91B0-C71CAE0D6133}"/>
          </ac:cxnSpMkLst>
        </pc:cxnChg>
      </pc:sldChg>
      <pc:sldChg chg="addSp modSp add mod">
        <pc:chgData name="DE JONG, Ruud" userId="067c1632-da17-4d72-b76b-09c00f747912" providerId="ADAL" clId="{22DF285A-C8BC-4B0D-A66D-1830FE0E492E}" dt="2022-12-14T17:03:42.483" v="30643" actId="114"/>
        <pc:sldMkLst>
          <pc:docMk/>
          <pc:sldMk cId="477189349" sldId="1243"/>
        </pc:sldMkLst>
        <pc:spChg chg="mod">
          <ac:chgData name="DE JONG, Ruud" userId="067c1632-da17-4d72-b76b-09c00f747912" providerId="ADAL" clId="{22DF285A-C8BC-4B0D-A66D-1830FE0E492E}" dt="2022-12-14T16:57:38.470" v="30473" actId="1036"/>
          <ac:spMkLst>
            <pc:docMk/>
            <pc:sldMk cId="477189349" sldId="1243"/>
            <ac:spMk id="17" creationId="{0B743D81-0BF3-43DB-8659-D2DE81CB12B7}"/>
          </ac:spMkLst>
        </pc:spChg>
        <pc:spChg chg="mod">
          <ac:chgData name="DE JONG, Ruud" userId="067c1632-da17-4d72-b76b-09c00f747912" providerId="ADAL" clId="{22DF285A-C8BC-4B0D-A66D-1830FE0E492E}" dt="2022-12-14T17:03:42.483" v="30643" actId="114"/>
          <ac:spMkLst>
            <pc:docMk/>
            <pc:sldMk cId="477189349" sldId="1243"/>
            <ac:spMk id="18" creationId="{CEB6B9A5-42D6-4A31-A5F7-32168EE9333A}"/>
          </ac:spMkLst>
        </pc:spChg>
        <pc:spChg chg="add mod">
          <ac:chgData name="DE JONG, Ruud" userId="067c1632-da17-4d72-b76b-09c00f747912" providerId="ADAL" clId="{22DF285A-C8BC-4B0D-A66D-1830FE0E492E}" dt="2022-12-14T16:57:03.667" v="30466" actId="1035"/>
          <ac:spMkLst>
            <pc:docMk/>
            <pc:sldMk cId="477189349" sldId="1243"/>
            <ac:spMk id="27" creationId="{E684F2C1-8198-40C3-BC21-F924394F478B}"/>
          </ac:spMkLst>
        </pc:spChg>
        <pc:spChg chg="add mod">
          <ac:chgData name="DE JONG, Ruud" userId="067c1632-da17-4d72-b76b-09c00f747912" providerId="ADAL" clId="{22DF285A-C8BC-4B0D-A66D-1830FE0E492E}" dt="2022-12-14T17:00:57.055" v="30634" actId="14100"/>
          <ac:spMkLst>
            <pc:docMk/>
            <pc:sldMk cId="477189349" sldId="1243"/>
            <ac:spMk id="29" creationId="{BCFC79B7-4162-431A-B4AD-0012EA0C5D85}"/>
          </ac:spMkLst>
        </pc:spChg>
        <pc:spChg chg="mod">
          <ac:chgData name="DE JONG, Ruud" userId="067c1632-da17-4d72-b76b-09c00f747912" providerId="ADAL" clId="{22DF285A-C8BC-4B0D-A66D-1830FE0E492E}" dt="2022-12-14T16:57:01.283" v="30464" actId="1035"/>
          <ac:spMkLst>
            <pc:docMk/>
            <pc:sldMk cId="477189349" sldId="1243"/>
            <ac:spMk id="32" creationId="{73B1A791-50FD-4913-9DD8-5A9931A3CEA3}"/>
          </ac:spMkLst>
        </pc:spChg>
        <pc:cxnChg chg="mod">
          <ac:chgData name="DE JONG, Ruud" userId="067c1632-da17-4d72-b76b-09c00f747912" providerId="ADAL" clId="{22DF285A-C8BC-4B0D-A66D-1830FE0E492E}" dt="2022-12-14T16:57:01.283" v="30464" actId="1035"/>
          <ac:cxnSpMkLst>
            <pc:docMk/>
            <pc:sldMk cId="477189349" sldId="1243"/>
            <ac:cxnSpMk id="24" creationId="{BED38696-6A6F-4EEA-93EC-405DFB082FE9}"/>
          </ac:cxnSpMkLst>
        </pc:cxnChg>
        <pc:cxnChg chg="add mod">
          <ac:chgData name="DE JONG, Ruud" userId="067c1632-da17-4d72-b76b-09c00f747912" providerId="ADAL" clId="{22DF285A-C8BC-4B0D-A66D-1830FE0E492E}" dt="2022-12-14T16:57:08.650" v="30467" actId="14100"/>
          <ac:cxnSpMkLst>
            <pc:docMk/>
            <pc:sldMk cId="477189349" sldId="1243"/>
            <ac:cxnSpMk id="28" creationId="{059A028D-85E6-4505-AF74-FB7522159AAB}"/>
          </ac:cxnSpMkLst>
        </pc:cxnChg>
      </pc:sldChg>
      <pc:sldChg chg="modSp add mod ord">
        <pc:chgData name="DE JONG, Ruud" userId="067c1632-da17-4d72-b76b-09c00f747912" providerId="ADAL" clId="{22DF285A-C8BC-4B0D-A66D-1830FE0E492E}" dt="2022-12-14T17:10:37.879" v="30658"/>
        <pc:sldMkLst>
          <pc:docMk/>
          <pc:sldMk cId="1246983376" sldId="1244"/>
        </pc:sldMkLst>
        <pc:spChg chg="mod">
          <ac:chgData name="DE JONG, Ruud" userId="067c1632-da17-4d72-b76b-09c00f747912" providerId="ADAL" clId="{22DF285A-C8BC-4B0D-A66D-1830FE0E492E}" dt="2022-12-14T17:10:31.100" v="30655" actId="20577"/>
          <ac:spMkLst>
            <pc:docMk/>
            <pc:sldMk cId="1246983376" sldId="1244"/>
            <ac:spMk id="4" creationId="{7E71626A-CA5A-4401-81EF-814E52378640}"/>
          </ac:spMkLst>
        </pc:spChg>
      </pc:sldChg>
      <pc:sldChg chg="modSp add mod">
        <pc:chgData name="DE JONG, Ruud" userId="067c1632-da17-4d72-b76b-09c00f747912" providerId="ADAL" clId="{22DF285A-C8BC-4B0D-A66D-1830FE0E492E}" dt="2022-12-14T17:12:14.858" v="30869" actId="5793"/>
        <pc:sldMkLst>
          <pc:docMk/>
          <pc:sldMk cId="1968785926" sldId="1245"/>
        </pc:sldMkLst>
        <pc:spChg chg="mod">
          <ac:chgData name="DE JONG, Ruud" userId="067c1632-da17-4d72-b76b-09c00f747912" providerId="ADAL" clId="{22DF285A-C8BC-4B0D-A66D-1830FE0E492E}" dt="2022-12-14T17:10:50.161" v="30665" actId="20577"/>
          <ac:spMkLst>
            <pc:docMk/>
            <pc:sldMk cId="1968785926" sldId="1245"/>
            <ac:spMk id="2" creationId="{00000000-0000-0000-0000-000000000000}"/>
          </ac:spMkLst>
        </pc:spChg>
        <pc:spChg chg="mod">
          <ac:chgData name="DE JONG, Ruud" userId="067c1632-da17-4d72-b76b-09c00f747912" providerId="ADAL" clId="{22DF285A-C8BC-4B0D-A66D-1830FE0E492E}" dt="2022-12-14T17:12:14.858" v="30869" actId="5793"/>
          <ac:spMkLst>
            <pc:docMk/>
            <pc:sldMk cId="1968785926" sldId="1245"/>
            <ac:spMk id="3" creationId="{00000000-0000-0000-0000-000000000000}"/>
          </ac:spMkLst>
        </pc:spChg>
      </pc:sldChg>
      <pc:sldMasterChg chg="delSldLayout">
        <pc:chgData name="DE JONG, Ruud" userId="067c1632-da17-4d72-b76b-09c00f747912" providerId="ADAL" clId="{22DF285A-C8BC-4B0D-A66D-1830FE0E492E}" dt="2022-12-14T12:38:36.699" v="27393" actId="47"/>
        <pc:sldMasterMkLst>
          <pc:docMk/>
          <pc:sldMasterMk cId="2314978218" sldId="2147483914"/>
        </pc:sldMasterMkLst>
        <pc:sldLayoutChg chg="del">
          <pc:chgData name="DE JONG, Ruud" userId="067c1632-da17-4d72-b76b-09c00f747912" providerId="ADAL" clId="{22DF285A-C8BC-4B0D-A66D-1830FE0E492E}" dt="2022-11-25T09:31:29.132" v="2127" actId="47"/>
          <pc:sldLayoutMkLst>
            <pc:docMk/>
            <pc:sldMasterMk cId="2314978218" sldId="2147483914"/>
            <pc:sldLayoutMk cId="1951425334" sldId="2147484005"/>
          </pc:sldLayoutMkLst>
        </pc:sldLayoutChg>
        <pc:sldLayoutChg chg="del">
          <pc:chgData name="DE JONG, Ruud" userId="067c1632-da17-4d72-b76b-09c00f747912" providerId="ADAL" clId="{22DF285A-C8BC-4B0D-A66D-1830FE0E492E}" dt="2022-12-14T12:38:36.699" v="27393" actId="47"/>
          <pc:sldLayoutMkLst>
            <pc:docMk/>
            <pc:sldMasterMk cId="2314978218" sldId="2147483914"/>
            <pc:sldLayoutMk cId="4158769716" sldId="214748400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r.›</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r.›</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30.xml"/><Relationship Id="rId16" Type="http://schemas.openxmlformats.org/officeDocument/2006/relationships/image" Target="../media/image8.png"/><Relationship Id="rId1" Type="http://schemas.openxmlformats.org/officeDocument/2006/relationships/tags" Target="../tags/tag29.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826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57744907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8758310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4701998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80741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942594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14195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585755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388922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04093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650279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137566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587078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33201179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51400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0754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83826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3210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20879543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5293591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391546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793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11.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emf"/><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heme" Target="../theme/theme4.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image" Target="../media/image1.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oleObject" Target="../embeddings/oleObject1.bin"/><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1.emf"/><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oleObject" Target="../embeddings/oleObject10.bin"/><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tags" Target="../tags/tag2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r.›</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62" r:id="rId2"/>
    <p:sldLayoutId id="2147484004" r:id="rId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r.›</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4031" r:id="rId11"/>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r.›</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r.›</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Security Classification: Confidential © Capgemini 2021. All rights reserved  |</a:t>
            </a:r>
          </a:p>
        </p:txBody>
      </p:sp>
    </p:spTree>
    <p:extLst>
      <p:ext uri="{BB962C8B-B14F-4D97-AF65-F5344CB8AC3E}">
        <p14:creationId xmlns:p14="http://schemas.microsoft.com/office/powerpoint/2010/main" val="345294898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4" r:id="rId15"/>
    <p:sldLayoutId id="2147484025" r:id="rId16"/>
    <p:sldLayoutId id="2147484026" r:id="rId17"/>
    <p:sldLayoutId id="2147484027" r:id="rId18"/>
    <p:sldLayoutId id="2147484028" r:id="rId19"/>
    <p:sldLayoutId id="2147484029" r:id="rId20"/>
    <p:sldLayoutId id="214748403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8.xml.rels><?xml version="1.0" encoding="UTF-8" standalone="yes"?>
<Relationships xmlns="http://schemas.openxmlformats.org/package/2006/relationships"><Relationship Id="rId3" Type="http://schemas.openxmlformats.org/officeDocument/2006/relationships/hyperlink" Target="https://docs.python.org/3/library/importlib.html" TargetMode="External"/><Relationship Id="rId2" Type="http://schemas.openxmlformats.org/officeDocument/2006/relationships/hyperlink" Target="https://github.com/Python-Masterclass/imports" TargetMode="External"/><Relationship Id="rId1" Type="http://schemas.openxmlformats.org/officeDocument/2006/relationships/slideLayout" Target="../slideLayouts/slideLayout4.xml"/><Relationship Id="rId6" Type="http://schemas.openxmlformats.org/officeDocument/2006/relationships/hyperlink" Target="https://stackoverflow.com/questions/41990169/how-to-use-sys-path-hooks-for-customized-loading-of-modules" TargetMode="External"/><Relationship Id="rId5" Type="http://schemas.openxmlformats.org/officeDocument/2006/relationships/hyperlink" Target="https://ep2022.europython.eu/session/what-happens-when-you-import-a-module" TargetMode="External"/><Relationship Id="rId4" Type="http://schemas.openxmlformats.org/officeDocument/2006/relationships/hyperlink" Target="https://peps.python.org/pep-0451/" TargetMode="Externa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6</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The Magic of descriptors</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02695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7219484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045025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1087214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35605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1486694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7425736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err="1">
                <a:latin typeface="Consolas" panose="020B0609020204030204" pitchFamily="49" charset="0"/>
              </a:rPr>
              <a:t>AttributeError</a:t>
            </a:r>
            <a:r>
              <a:rPr lang="nl-NL" sz="2000" b="1" dirty="0">
                <a:latin typeface="Consolas" panose="020B0609020204030204" pitchFamily="49" charset="0"/>
              </a:rPr>
              <a:t>: 'B' object has no </a:t>
            </a:r>
            <a:r>
              <a:rPr lang="nl-NL" sz="2000" b="1" dirty="0" err="1">
                <a:latin typeface="Consolas" panose="020B0609020204030204" pitchFamily="49" charset="0"/>
              </a:rPr>
              <a:t>attribute</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7178335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Class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0793819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1)</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18031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fontScale="92500" lnSpcReduction="20000"/>
          </a:bodyPr>
          <a:lstStyle/>
          <a:p>
            <a:r>
              <a:rPr lang="en-US" dirty="0">
                <a:latin typeface="Ubuntu" panose="020B0504030602030204" pitchFamily="34" charset="0"/>
              </a:rPr>
              <a:t>A series of tutorials, with in-depth exploration of some Python aspect</a:t>
            </a:r>
          </a:p>
          <a:p>
            <a:endParaRPr lang="en-US" dirty="0">
              <a:latin typeface="Ubuntu" panose="020B0504030602030204" pitchFamily="34" charset="0"/>
            </a:endParaRPr>
          </a:p>
          <a:p>
            <a:pPr marL="342900" indent="-342900">
              <a:buFont typeface="Wingdings" panose="05000000000000000000" pitchFamily="2" charset="2"/>
              <a:buChar char="ü"/>
            </a:pPr>
            <a:r>
              <a:rPr lang="en-US" i="1" dirty="0">
                <a:latin typeface="Ubuntu" panose="020B0504030602030204" pitchFamily="34" charset="0"/>
              </a:rPr>
              <a:t>Object model</a:t>
            </a:r>
          </a:p>
          <a:p>
            <a:pPr marL="342900" indent="-342900">
              <a:buFont typeface="Wingdings" panose="05000000000000000000" pitchFamily="2" charset="2"/>
              <a:buChar char="ü"/>
            </a:pPr>
            <a:r>
              <a:rPr lang="en-US" i="1" dirty="0">
                <a:latin typeface="Ubuntu" panose="020B0504030602030204" pitchFamily="34" charset="0"/>
              </a:rPr>
              <a:t>Namespaces and attribute lookup</a:t>
            </a:r>
          </a:p>
          <a:p>
            <a:pPr marL="342900" indent="-342900">
              <a:buFont typeface="Wingdings" panose="05000000000000000000" pitchFamily="2" charset="2"/>
              <a:buChar char="ü"/>
            </a:pPr>
            <a:r>
              <a:rPr lang="en-US" i="1" dirty="0">
                <a:latin typeface="Ubuntu" panose="020B0504030602030204" pitchFamily="34" charset="0"/>
              </a:rPr>
              <a:t>Concurrency / threading</a:t>
            </a:r>
          </a:p>
          <a:p>
            <a:pPr marL="342900" indent="-342900">
              <a:lnSpc>
                <a:spcPct val="100000"/>
              </a:lnSpc>
              <a:buFont typeface="Wingdings" panose="05000000000000000000" pitchFamily="2" charset="2"/>
              <a:buChar char="ü"/>
            </a:pPr>
            <a:r>
              <a:rPr lang="en-US" i="1" dirty="0">
                <a:latin typeface="Ubuntu" panose="020B0504030602030204" pitchFamily="34" charset="0"/>
              </a:rPr>
              <a:t>Concurrency / </a:t>
            </a:r>
            <a:r>
              <a:rPr lang="en-US" i="1" dirty="0" err="1">
                <a:latin typeface="Ubuntu" panose="020B0504030602030204" pitchFamily="34" charset="0"/>
              </a:rPr>
              <a:t>asyncio</a:t>
            </a:r>
            <a:endParaRPr lang="en-US" i="1" dirty="0">
              <a:latin typeface="Ubuntu" panose="020B0504030602030204" pitchFamily="34" charset="0"/>
            </a:endParaRPr>
          </a:p>
          <a:p>
            <a:pPr marL="342900" indent="-342900">
              <a:lnSpc>
                <a:spcPct val="100000"/>
              </a:lnSpc>
              <a:buFont typeface="Wingdings" panose="05000000000000000000" pitchFamily="2" charset="2"/>
              <a:buChar char="ü"/>
            </a:pPr>
            <a:r>
              <a:rPr lang="en-US" i="1" dirty="0">
                <a:latin typeface="Ubuntu" panose="020B0504030602030204" pitchFamily="34" charset="0"/>
              </a:rPr>
              <a:t>The import mechanism</a:t>
            </a:r>
          </a:p>
          <a:p>
            <a:pPr marL="342900" indent="-342900">
              <a:buFont typeface="Wingdings" panose="05000000000000000000" pitchFamily="2" charset="2"/>
              <a:buChar char="Ø"/>
            </a:pPr>
            <a:r>
              <a:rPr lang="en-US" b="1" dirty="0">
                <a:latin typeface="Ubuntu" panose="020B0504030602030204" pitchFamily="34" charset="0"/>
              </a:rPr>
              <a:t>Properties and descriptors</a:t>
            </a:r>
          </a:p>
          <a:p>
            <a:pPr marL="342900" indent="-342900">
              <a:buFont typeface="Arial" panose="020B0604020202020204" pitchFamily="34" charset="0"/>
              <a:buChar char="•"/>
            </a:pPr>
            <a:r>
              <a:rPr lang="en-US" dirty="0">
                <a:solidFill>
                  <a:schemeClr val="tx1">
                    <a:lumMod val="50000"/>
                    <a:lumOff val="50000"/>
                  </a:schemeClr>
                </a:solidFill>
                <a:latin typeface="Ubuntu" panose="020B0504030602030204" pitchFamily="34" charset="0"/>
              </a:rPr>
              <a:t>Networking with </a:t>
            </a:r>
            <a:r>
              <a:rPr lang="en-US" dirty="0" err="1">
                <a:solidFill>
                  <a:schemeClr val="tx1">
                    <a:lumMod val="50000"/>
                    <a:lumOff val="50000"/>
                  </a:schemeClr>
                </a:solidFill>
                <a:latin typeface="Ubuntu" panose="020B0504030602030204" pitchFamily="34" charset="0"/>
              </a:rPr>
              <a:t>zmq</a:t>
            </a:r>
            <a:endParaRPr lang="en-US" dirty="0">
              <a:solidFill>
                <a:schemeClr val="tx1">
                  <a:lumMod val="50000"/>
                  <a:lumOff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ackaging, distributing, and installing</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The Abstract Syntax Tree</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Introspection</a:t>
            </a:r>
          </a:p>
          <a:p>
            <a:pPr marL="342900" indent="-342900">
              <a:buFont typeface="Arial" panose="020B0604020202020204" pitchFamily="34" charset="0"/>
              <a:buChar char="•"/>
            </a:pPr>
            <a:r>
              <a:rPr lang="en-US" dirty="0" err="1">
                <a:solidFill>
                  <a:schemeClr val="bg1">
                    <a:lumMod val="50000"/>
                  </a:schemeClr>
                </a:solidFill>
                <a:latin typeface="Ubuntu" panose="020B0504030602030204" pitchFamily="34" charset="0"/>
              </a:rPr>
              <a:t>Unittesting</a:t>
            </a:r>
            <a:endParaRPr lang="en-US" dirty="0">
              <a:solidFill>
                <a:schemeClr val="bg1">
                  <a:lumMod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Syntactic sugar</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Extending / embedding Python</a:t>
            </a:r>
          </a:p>
          <a:p>
            <a:endParaRPr lang="en-US" dirty="0">
              <a:latin typeface="Ubuntu" panose="020B0504030602030204" pitchFamily="34" charset="0"/>
            </a:endParaRPr>
          </a:p>
          <a:p>
            <a:endParaRPr lang="en-US" dirty="0">
              <a:latin typeface="Ubuntu" panose="020B0504030602030204" pitchFamily="34" charset="0"/>
            </a:endParaRPr>
          </a:p>
          <a:p>
            <a:endParaRPr lang="en-US" dirty="0">
              <a:latin typeface="Ubuntu" panose="020B0504030602030204" pitchFamily="34" charset="0"/>
            </a:endParaRPr>
          </a:p>
        </p:txBody>
      </p:sp>
      <p:sp>
        <p:nvSpPr>
          <p:cNvPr id="4" name="Title 3"/>
          <p:cNvSpPr>
            <a:spLocks noGrp="1"/>
          </p:cNvSpPr>
          <p:nvPr>
            <p:ph type="title"/>
          </p:nvPr>
        </p:nvSpPr>
        <p:spPr/>
        <p:txBody>
          <a:bodyPr/>
          <a:lstStyle/>
          <a:p>
            <a:r>
              <a:rPr lang="nl-NL" dirty="0">
                <a:latin typeface="Ubuntu Medium" panose="020B0604030602030204" pitchFamily="34" charset="0"/>
              </a:rPr>
              <a:t>Python masterclasses</a:t>
            </a:r>
            <a:endParaRPr lang="en-US" dirty="0">
              <a:latin typeface="Ubuntu Medium" panose="020B0604030602030204" pitchFamily="34" charset="0"/>
            </a:endParaRPr>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1)</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0215068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26577973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5903511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63938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err="1">
                <a:latin typeface="Consolas" panose="020B0609020204030204" pitchFamily="49" charset="0"/>
              </a:rPr>
              <a:t>KeyError</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8675678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15700296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40777109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en-US" sz="2000" b="1" dirty="0" err="1">
                <a:latin typeface="Consolas" panose="020B0609020204030204" pitchFamily="49" charset="0"/>
              </a:rPr>
              <a:t>AttributeError</a:t>
            </a:r>
            <a:r>
              <a:rPr lang="en-US" sz="2000" b="1" dirty="0">
                <a:latin typeface="Consolas" panose="020B0609020204030204" pitchFamily="49" charset="0"/>
              </a:rPr>
              <a:t>: type object 'B' has no attribute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2871173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Summary</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2464312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7A882FA4-2682-7D35-F168-9308371DA2C8}"/>
              </a:ext>
            </a:extLst>
          </p:cNvPr>
          <p:cNvSpPr>
            <a:spLocks noGrp="1"/>
          </p:cNvSpPr>
          <p:nvPr>
            <p:ph type="body" sz="quarter" idx="10"/>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obj.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obj.x</a:t>
            </a:r>
            <a:r>
              <a:rPr lang="nl-NL" sz="2000" dirty="0"/>
              <a:t> </a:t>
            </a:r>
            <a:r>
              <a:rPr lang="nl-NL" sz="2000" dirty="0" err="1"/>
              <a:t>works</a:t>
            </a:r>
            <a:r>
              <a:rPr lang="nl-NL" sz="2000" dirty="0"/>
              <a:t> on </a:t>
            </a:r>
            <a:r>
              <a:rPr lang="nl-NL" sz="2000" b="1" dirty="0" err="1">
                <a:latin typeface="Consolas" panose="020B0609020204030204" pitchFamily="49" charset="0"/>
              </a:rPr>
              <a:t>obj</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obj.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b="1" dirty="0" err="1">
                <a:latin typeface="Consolas" panose="020B0609020204030204" pitchFamily="49" charset="0"/>
              </a:rPr>
              <a:t>obj</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obj</a:t>
            </a:r>
            <a:r>
              <a:rPr lang="nl-NL" sz="2000" b="1" dirty="0">
                <a:latin typeface="Consolas" panose="020B0609020204030204" pitchFamily="49" charset="0"/>
              </a:rPr>
              <a:t>)</a:t>
            </a:r>
          </a:p>
        </p:txBody>
      </p:sp>
      <p:sp>
        <p:nvSpPr>
          <p:cNvPr id="7" name="Tijdelijke aanduiding voor tekst 6">
            <a:extLst>
              <a:ext uri="{FF2B5EF4-FFF2-40B4-BE49-F238E27FC236}">
                <a16:creationId xmlns:a16="http://schemas.microsoft.com/office/drawing/2014/main" id="{F5FF5006-17ED-EB17-8061-4C04649B7A88}"/>
              </a:ext>
            </a:extLst>
          </p:cNvPr>
          <p:cNvSpPr>
            <a:spLocks noGrp="1"/>
          </p:cNvSpPr>
          <p:nvPr>
            <p:ph type="body" sz="quarter" idx="12"/>
          </p:nvPr>
        </p:nvSpPr>
        <p:spPr/>
        <p:txBody>
          <a:bodyPr/>
          <a:lstStyle/>
          <a:p>
            <a:r>
              <a:rPr lang="nl-NL" dirty="0" err="1"/>
              <a:t>Instance</a:t>
            </a:r>
            <a:r>
              <a:rPr lang="nl-NL" dirty="0"/>
              <a:t> </a:t>
            </a:r>
            <a:r>
              <a:rPr lang="nl-NL" dirty="0" err="1"/>
              <a:t>attributes</a:t>
            </a:r>
            <a:endParaRPr lang="nl-NL" dirty="0"/>
          </a:p>
        </p:txBody>
      </p:sp>
      <p:sp>
        <p:nvSpPr>
          <p:cNvPr id="8" name="Tijdelijke aanduiding voor tekst 7">
            <a:extLst>
              <a:ext uri="{FF2B5EF4-FFF2-40B4-BE49-F238E27FC236}">
                <a16:creationId xmlns:a16="http://schemas.microsoft.com/office/drawing/2014/main" id="{27F28042-EFB5-97D8-9362-D11F59A83B8C}"/>
              </a:ext>
            </a:extLst>
          </p:cNvPr>
          <p:cNvSpPr>
            <a:spLocks noGrp="1"/>
          </p:cNvSpPr>
          <p:nvPr>
            <p:ph type="body" sz="quarter" idx="13"/>
          </p:nvPr>
        </p:nvSpPr>
        <p:spPr/>
        <p:txBody>
          <a:bodyPr/>
          <a:lstStyle/>
          <a:p>
            <a:r>
              <a:rPr lang="nl-NL" dirty="0"/>
              <a:t>Class </a:t>
            </a:r>
            <a:r>
              <a:rPr lang="nl-NL" dirty="0" err="1"/>
              <a:t>attributes</a:t>
            </a:r>
            <a:endParaRPr lang="nl-NL" dirty="0"/>
          </a:p>
        </p:txBody>
      </p:sp>
      <p:sp>
        <p:nvSpPr>
          <p:cNvPr id="2" name="Title 1"/>
          <p:cNvSpPr>
            <a:spLocks noGrp="1"/>
          </p:cNvSpPr>
          <p:nvPr>
            <p:ph type="title"/>
          </p:nvPr>
        </p:nvSpPr>
        <p:spPr/>
        <p:txBody>
          <a:bodyPr/>
          <a:lstStyle/>
          <a:p>
            <a:r>
              <a:rPr lang="nl-NL" dirty="0"/>
              <a:t>Non-descriptor </a:t>
            </a:r>
            <a:r>
              <a:rPr lang="nl-NL" dirty="0" err="1"/>
              <a:t>attributes</a:t>
            </a:r>
            <a:endParaRPr lang="en-US" sz="3000" cap="none" dirty="0">
              <a:solidFill>
                <a:schemeClr val="accent1"/>
              </a:solidFill>
            </a:endParaRPr>
          </a:p>
        </p:txBody>
      </p:sp>
      <p:sp>
        <p:nvSpPr>
          <p:cNvPr id="9" name="Tijdelijke aanduiding voor tekst 8">
            <a:extLst>
              <a:ext uri="{FF2B5EF4-FFF2-40B4-BE49-F238E27FC236}">
                <a16:creationId xmlns:a16="http://schemas.microsoft.com/office/drawing/2014/main" id="{EE709D5A-F6C1-3F46-5FA1-FCC29A47B345}"/>
              </a:ext>
            </a:extLst>
          </p:cNvPr>
          <p:cNvSpPr>
            <a:spLocks noGrp="1"/>
          </p:cNvSpPr>
          <p:nvPr>
            <p:ph type="body" sz="quarter" idx="14"/>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cls.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cls.x</a:t>
            </a:r>
            <a:r>
              <a:rPr lang="nl-NL" sz="2000" dirty="0"/>
              <a:t> </a:t>
            </a:r>
            <a:r>
              <a:rPr lang="nl-NL" sz="2000" dirty="0" err="1"/>
              <a:t>works</a:t>
            </a:r>
            <a:r>
              <a:rPr lang="nl-NL" sz="2000" dirty="0"/>
              <a:t> on </a:t>
            </a:r>
            <a:r>
              <a:rPr lang="nl-NL" sz="2000" b="1" dirty="0" err="1">
                <a:latin typeface="Consolas" panose="020B0609020204030204" pitchFamily="49" charset="0"/>
              </a:rPr>
              <a:t>cls</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cls.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dirty="0" err="1"/>
              <a:t>the</a:t>
            </a:r>
            <a:r>
              <a:rPr lang="nl-NL" sz="2000" dirty="0"/>
              <a:t> MRO of </a:t>
            </a:r>
            <a:r>
              <a:rPr lang="nl-NL" sz="2000" b="1" dirty="0" err="1">
                <a:latin typeface="Consolas" panose="020B0609020204030204" pitchFamily="49" charset="0"/>
              </a:rPr>
              <a:t>cls</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cls</a:t>
            </a:r>
            <a:r>
              <a:rPr lang="nl-NL" sz="2000" b="1" dirty="0">
                <a:latin typeface="Consolas" panose="020B0609020204030204" pitchFamily="49" charset="0"/>
              </a:rPr>
              <a:t>)</a:t>
            </a:r>
          </a:p>
          <a:p>
            <a:endParaRPr lang="nl-NL" dirty="0"/>
          </a:p>
        </p:txBody>
      </p:sp>
    </p:spTree>
    <p:extLst>
      <p:ext uri="{BB962C8B-B14F-4D97-AF65-F5344CB8AC3E}">
        <p14:creationId xmlns:p14="http://schemas.microsoft.com/office/powerpoint/2010/main" val="1512876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sz="2400" dirty="0">
                <a:latin typeface="Ubuntu" panose="020B0504030602030204" pitchFamily="34" charset="0"/>
              </a:rPr>
              <a:t>Recap object hierarchy and attribute lookup</a:t>
            </a:r>
          </a:p>
          <a:p>
            <a:pPr marL="342900" indent="-342900">
              <a:buFont typeface="Arial" panose="020B0604020202020204" pitchFamily="34" charset="0"/>
              <a:buChar char="•"/>
            </a:pPr>
            <a:r>
              <a:rPr lang="en-US" sz="2400" dirty="0">
                <a:latin typeface="Ubuntu" panose="020B0504030602030204" pitchFamily="34" charset="0"/>
              </a:rPr>
              <a:t>Descriptors</a:t>
            </a:r>
          </a:p>
          <a:p>
            <a:pPr marL="342900" indent="-342900">
              <a:buFont typeface="Arial" panose="020B0604020202020204" pitchFamily="34" charset="0"/>
              <a:buChar char="•"/>
            </a:pPr>
            <a:r>
              <a:rPr lang="en-US" sz="2400" dirty="0">
                <a:latin typeface="Ubuntu" panose="020B0504030602030204" pitchFamily="34" charset="0"/>
              </a:rPr>
              <a:t>Properties</a:t>
            </a:r>
          </a:p>
          <a:p>
            <a:pPr marL="342900" indent="-342900">
              <a:buFont typeface="Arial" panose="020B0604020202020204" pitchFamily="34" charset="0"/>
              <a:buChar char="•"/>
            </a:pPr>
            <a:r>
              <a:rPr lang="en-US" sz="2400" dirty="0">
                <a:latin typeface="Ubuntu" panose="020B0504030602030204" pitchFamily="34" charset="0"/>
              </a:rPr>
              <a:t>Functions, methods, </a:t>
            </a:r>
            <a:r>
              <a:rPr lang="en-US" sz="2400" dirty="0" err="1">
                <a:latin typeface="Ubuntu" panose="020B0504030602030204" pitchFamily="34" charset="0"/>
              </a:rPr>
              <a:t>classmethods</a:t>
            </a:r>
            <a:r>
              <a:rPr lang="en-US" sz="2400" dirty="0">
                <a:latin typeface="Ubuntu" panose="020B0504030602030204" pitchFamily="34" charset="0"/>
              </a:rPr>
              <a:t>, </a:t>
            </a:r>
            <a:r>
              <a:rPr lang="en-US" sz="2400" dirty="0" err="1">
                <a:latin typeface="Ubuntu" panose="020B0504030602030204" pitchFamily="34" charset="0"/>
              </a:rPr>
              <a:t>staticmethods</a:t>
            </a:r>
            <a:endParaRPr lang="en-US" sz="2400" dirty="0">
              <a:latin typeface="Ubuntu" panose="020B0504030602030204" pitchFamily="34" charset="0"/>
            </a:endParaRPr>
          </a:p>
          <a:p>
            <a:pPr marL="342900" indent="-342900">
              <a:buFont typeface="Arial" panose="020B0604020202020204" pitchFamily="34" charset="0"/>
              <a:buChar char="•"/>
            </a:pPr>
            <a:r>
              <a:rPr lang="en-US" sz="2400" noProof="0" dirty="0">
                <a:latin typeface="Ubuntu" panose="020B0504030602030204" pitchFamily="34" charset="0"/>
              </a:rPr>
              <a:t>Custom descriptors</a:t>
            </a:r>
            <a:endParaRPr lang="en-US" sz="2400" noProof="0" dirty="0"/>
          </a:p>
        </p:txBody>
      </p:sp>
      <p:sp>
        <p:nvSpPr>
          <p:cNvPr id="4" name="Title 3"/>
          <p:cNvSpPr>
            <a:spLocks noGrp="1"/>
          </p:cNvSpPr>
          <p:nvPr>
            <p:ph type="title"/>
          </p:nvPr>
        </p:nvSpPr>
        <p:spPr/>
        <p:txBody>
          <a:bodyPr/>
          <a:lstStyle/>
          <a:p>
            <a:r>
              <a:rPr lang="nl-NL" noProof="0" dirty="0">
                <a:latin typeface="Ubuntu Medium" panose="020B0604030602030204" pitchFamily="34" charset="0"/>
              </a:rPr>
              <a:t>Agenda</a:t>
            </a:r>
            <a:endParaRPr lang="en-US" noProof="0" dirty="0">
              <a:latin typeface="Ubuntu Medium" panose="020B0604030602030204" pitchFamily="34" charset="0"/>
            </a:endParaRPr>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Descriptor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Descriptor protocol</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224631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A descriptor is </a:t>
            </a:r>
            <a:r>
              <a:rPr lang="nl-NL" sz="2400" dirty="0" err="1"/>
              <a:t>any</a:t>
            </a:r>
            <a:r>
              <a:rPr lang="nl-NL" sz="2400" dirty="0"/>
              <a:t> class </a:t>
            </a:r>
            <a:r>
              <a:rPr lang="nl-NL" sz="2400" dirty="0" err="1"/>
              <a:t>that</a:t>
            </a:r>
            <a:r>
              <a:rPr lang="nl-NL" sz="2400" dirty="0"/>
              <a:t> has at </a:t>
            </a:r>
            <a:r>
              <a:rPr lang="nl-NL" sz="2400" dirty="0" err="1"/>
              <a:t>least</a:t>
            </a:r>
            <a:r>
              <a:rPr lang="nl-NL" sz="2400" dirty="0"/>
              <a:t> </a:t>
            </a:r>
            <a:r>
              <a:rPr lang="nl-NL" sz="2400" dirty="0" err="1"/>
              <a:t>one</a:t>
            </a:r>
            <a:r>
              <a:rPr lang="nl-NL" sz="2400" dirty="0"/>
              <a:t> of </a:t>
            </a:r>
            <a:r>
              <a:rPr lang="nl-NL" sz="2400" dirty="0" err="1"/>
              <a:t>the</a:t>
            </a:r>
            <a:r>
              <a:rPr lang="nl-NL" sz="2400" dirty="0"/>
              <a:t> </a:t>
            </a:r>
            <a:r>
              <a:rPr lang="nl-NL" sz="2400" dirty="0" err="1"/>
              <a:t>following</a:t>
            </a:r>
            <a:r>
              <a:rPr lang="nl-NL" sz="2400" dirty="0"/>
              <a:t> </a:t>
            </a:r>
            <a:r>
              <a:rPr lang="nl-NL" sz="2400" dirty="0" err="1"/>
              <a:t>methods</a:t>
            </a:r>
            <a:r>
              <a:rPr lang="nl-NL" sz="2400" dirty="0"/>
              <a:t>:</a:t>
            </a:r>
          </a:p>
          <a:p>
            <a:pPr marL="342900" indent="-342900">
              <a:buFont typeface="Arial" panose="020B0604020202020204" pitchFamily="34" charset="0"/>
              <a:buChar char="•"/>
            </a:pPr>
            <a:endParaRPr lang="nl-NL" sz="2400" dirty="0"/>
          </a:p>
          <a:p>
            <a:pPr marL="361950" lvl="3" indent="0">
              <a:buNone/>
            </a:pPr>
            <a:r>
              <a:rPr lang="nl-NL" sz="2400" b="1" dirty="0">
                <a:latin typeface="Consolas" panose="020B0609020204030204" pitchFamily="49" charset="0"/>
              </a:rPr>
              <a:t>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owner_class</a:t>
            </a:r>
            <a:r>
              <a:rPr lang="nl-NL" sz="2400" b="1" dirty="0">
                <a:latin typeface="Consolas" panose="020B0609020204030204" pitchFamily="49" charset="0"/>
              </a:rPr>
              <a:t>=None)</a:t>
            </a:r>
          </a:p>
          <a:p>
            <a:pPr marL="361950" lvl="3" indent="0">
              <a:buNone/>
            </a:pPr>
            <a:r>
              <a:rPr lang="nl-NL" sz="2400" b="1" dirty="0">
                <a:latin typeface="Consolas" panose="020B0609020204030204" pitchFamily="49" charset="0"/>
              </a:rPr>
              <a:t>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marL="361950" lvl="3" indent="0">
              <a:buNone/>
            </a:pPr>
            <a:r>
              <a:rPr lang="nl-NL" sz="2400" b="1" dirty="0">
                <a:latin typeface="Consolas" panose="020B0609020204030204" pitchFamily="49" charset="0"/>
              </a:rPr>
              <a:t>__delete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a:t>
            </a:r>
            <a:endParaRPr lang="nl-NL" sz="2000" b="1" dirty="0">
              <a:latin typeface="Consolas" panose="020B0609020204030204" pitchFamily="49" charset="0"/>
            </a:endParaRPr>
          </a:p>
          <a:p>
            <a:pPr lvl="2"/>
            <a:endParaRPr lang="nl-NL" sz="2000" dirty="0"/>
          </a:p>
          <a:p>
            <a:pPr marL="342900" indent="-342900">
              <a:buFont typeface="Arial" panose="020B0604020202020204" pitchFamily="34" charset="0"/>
              <a:buChar char="•"/>
            </a:pPr>
            <a:r>
              <a:rPr lang="nl-NL" sz="2400" dirty="0"/>
              <a:t>A </a:t>
            </a:r>
            <a:r>
              <a:rPr lang="nl-NL" sz="2400" i="1" dirty="0"/>
              <a:t>data descriptor</a:t>
            </a:r>
            <a:r>
              <a:rPr lang="nl-NL" sz="2400" dirty="0"/>
              <a:t> is a descriptor </a:t>
            </a:r>
            <a:r>
              <a:rPr lang="nl-NL" sz="2400" dirty="0" err="1"/>
              <a:t>that</a:t>
            </a:r>
            <a:r>
              <a:rPr lang="nl-NL" sz="2400" dirty="0"/>
              <a:t> </a:t>
            </a:r>
            <a:r>
              <a:rPr lang="nl-NL" sz="2400" dirty="0" err="1"/>
              <a:t>defines</a:t>
            </a:r>
            <a:r>
              <a:rPr lang="nl-NL" sz="2400" dirty="0"/>
              <a:t> </a:t>
            </a:r>
            <a:r>
              <a:rPr lang="nl-NL" sz="2400" b="1" dirty="0">
                <a:latin typeface="Consolas" panose="020B0609020204030204" pitchFamily="49" charset="0"/>
              </a:rPr>
              <a:t>__set__</a:t>
            </a:r>
            <a:r>
              <a:rPr lang="nl-NL" sz="2400" dirty="0"/>
              <a:t> </a:t>
            </a:r>
            <a:r>
              <a:rPr lang="nl-NL" sz="2400" dirty="0" err="1"/>
              <a:t>and</a:t>
            </a:r>
            <a:r>
              <a:rPr lang="nl-NL" sz="2400" dirty="0"/>
              <a:t>/or </a:t>
            </a:r>
            <a:r>
              <a:rPr lang="nl-NL" sz="2400" b="1" dirty="0">
                <a:latin typeface="Consolas" panose="020B0609020204030204" pitchFamily="49" charset="0"/>
              </a:rPr>
              <a:t>__delete__</a:t>
            </a:r>
            <a:r>
              <a:rPr lang="nl-NL" sz="2400" dirty="0">
                <a:latin typeface="+mn-lt"/>
              </a:rPr>
              <a:t>.</a:t>
            </a:r>
          </a:p>
          <a:p>
            <a:pPr marL="342900" indent="-342900">
              <a:buFont typeface="Arial" panose="020B0604020202020204" pitchFamily="34" charset="0"/>
              <a:buChar char="•"/>
            </a:pPr>
            <a:r>
              <a:rPr lang="nl-NL" sz="2400" dirty="0"/>
              <a:t>A </a:t>
            </a:r>
            <a:r>
              <a:rPr lang="nl-NL" sz="2400" i="1" dirty="0"/>
              <a:t>non-data descriptor</a:t>
            </a:r>
            <a:r>
              <a:rPr lang="nl-NL" sz="2400" dirty="0"/>
              <a:t> is a descriptor </a:t>
            </a:r>
            <a:r>
              <a:rPr lang="nl-NL" sz="2400" dirty="0" err="1"/>
              <a:t>that</a:t>
            </a:r>
            <a:r>
              <a:rPr lang="nl-NL" sz="2400" dirty="0"/>
              <a:t> </a:t>
            </a:r>
            <a:r>
              <a:rPr lang="nl-NL" sz="2400" dirty="0" err="1"/>
              <a:t>only</a:t>
            </a:r>
            <a:r>
              <a:rPr lang="nl-NL" sz="2400" dirty="0"/>
              <a:t> </a:t>
            </a:r>
            <a:r>
              <a:rPr lang="nl-NL" sz="2400" dirty="0" err="1"/>
              <a:t>defines</a:t>
            </a:r>
            <a:r>
              <a:rPr lang="nl-NL" sz="2400" dirty="0"/>
              <a:t> </a:t>
            </a:r>
            <a:r>
              <a:rPr lang="nl-NL" sz="2400" b="1" dirty="0">
                <a:latin typeface="Consolas" panose="020B0609020204030204" pitchFamily="49" charset="0"/>
              </a:rPr>
              <a:t>__get__</a:t>
            </a:r>
            <a:r>
              <a:rPr lang="nl-NL" sz="2400" dirty="0">
                <a:latin typeface="+mn-lt"/>
              </a:rPr>
              <a:t>.</a:t>
            </a:r>
            <a:endParaRPr lang="nl-NL" sz="2400" b="1" dirty="0">
              <a:latin typeface="Consolas" panose="020B0609020204030204" pitchFamily="49" charset="0"/>
            </a:endParaRPr>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scriptor protocol</a:t>
            </a:r>
            <a:endParaRPr lang="en-US" sz="3000" cap="none" dirty="0">
              <a:solidFill>
                <a:schemeClr val="accent1"/>
              </a:solidFill>
            </a:endParaRPr>
          </a:p>
        </p:txBody>
      </p:sp>
    </p:spTree>
    <p:extLst>
      <p:ext uri="{BB962C8B-B14F-4D97-AF65-F5344CB8AC3E}">
        <p14:creationId xmlns:p14="http://schemas.microsoft.com/office/powerpoint/2010/main" val="6797779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a:bodyPr>
          <a:lstStyle/>
          <a:p>
            <a:pPr marL="342900" indent="-342900">
              <a:buFont typeface="Arial" panose="020B0604020202020204" pitchFamily="34" charset="0"/>
              <a:buChar char="•"/>
            </a:pPr>
            <a:r>
              <a:rPr lang="nl-NL" sz="2400" dirty="0"/>
              <a:t>A descriptor is </a:t>
            </a:r>
            <a:r>
              <a:rPr lang="nl-NL" sz="2400" dirty="0" err="1"/>
              <a:t>really</a:t>
            </a:r>
            <a:r>
              <a:rPr lang="nl-NL" sz="2400" dirty="0"/>
              <a:t> </a:t>
            </a:r>
            <a:r>
              <a:rPr lang="nl-NL" sz="2400" dirty="0" err="1"/>
              <a:t>only</a:t>
            </a:r>
            <a:r>
              <a:rPr lang="nl-NL" sz="2400" dirty="0"/>
              <a:t> </a:t>
            </a:r>
            <a:r>
              <a:rPr lang="nl-NL" sz="2400" dirty="0" err="1"/>
              <a:t>useful</a:t>
            </a:r>
            <a:r>
              <a:rPr lang="nl-NL" sz="2400" dirty="0"/>
              <a:t> </a:t>
            </a:r>
            <a:r>
              <a:rPr lang="nl-NL" sz="2400" dirty="0" err="1"/>
              <a:t>when</a:t>
            </a:r>
            <a:r>
              <a:rPr lang="nl-NL" sz="2400" dirty="0"/>
              <a:t> </a:t>
            </a:r>
            <a:r>
              <a:rPr lang="nl-NL" sz="2400" dirty="0" err="1"/>
              <a:t>defined</a:t>
            </a:r>
            <a:r>
              <a:rPr lang="nl-NL" sz="2400" dirty="0"/>
              <a:t> as </a:t>
            </a:r>
            <a:r>
              <a:rPr lang="nl-NL" sz="2400" dirty="0" err="1"/>
              <a:t>an</a:t>
            </a:r>
            <a:r>
              <a:rPr lang="nl-NL" sz="2400" dirty="0"/>
              <a:t> </a:t>
            </a:r>
            <a:r>
              <a:rPr lang="nl-NL" sz="2400" dirty="0" err="1"/>
              <a:t>attribute</a:t>
            </a:r>
            <a:br>
              <a:rPr lang="nl-NL" sz="2400" dirty="0"/>
            </a:br>
            <a:endParaRPr lang="nl-NL" sz="2400" dirty="0"/>
          </a:p>
          <a:p>
            <a:pPr marL="539750" lvl="4" indent="0">
              <a:lnSpc>
                <a:spcPct val="80000"/>
              </a:lnSpc>
              <a:buNone/>
            </a:pPr>
            <a:r>
              <a:rPr lang="nl-NL" sz="2400" b="1" dirty="0">
                <a:latin typeface="Consolas" panose="020B0609020204030204" pitchFamily="49" charset="0"/>
              </a:rPr>
              <a:t>class Descriptor:</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g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s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delete__(): ...</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class A:</a:t>
            </a:r>
          </a:p>
          <a:p>
            <a:pPr marL="539750" lvl="4" indent="0">
              <a:lnSpc>
                <a:spcPct val="80000"/>
              </a:lnSpc>
              <a:buNone/>
            </a:pPr>
            <a:r>
              <a:rPr lang="nl-NL" sz="2400" b="1" dirty="0">
                <a:latin typeface="Consolas" panose="020B0609020204030204" pitchFamily="49" charset="0"/>
              </a:rPr>
              <a:t>    d = Descriptor()</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a = A()</a:t>
            </a:r>
          </a:p>
          <a:p>
            <a:pPr marL="539750" lvl="4" indent="0">
              <a:lnSpc>
                <a:spcPct val="80000"/>
              </a:lnSpc>
              <a:buNone/>
            </a:pPr>
            <a:r>
              <a:rPr lang="nl-NL" sz="2400" b="1" dirty="0" err="1">
                <a:latin typeface="Consolas" panose="020B0609020204030204" pitchFamily="49" charset="0"/>
              </a:rPr>
              <a:t>a.d</a:t>
            </a:r>
            <a:r>
              <a:rPr lang="nl-NL" sz="2400" b="1" dirty="0">
                <a:latin typeface="Consolas" panose="020B0609020204030204" pitchFamily="49" charset="0"/>
              </a:rPr>
              <a:t> = 42  </a:t>
            </a:r>
            <a:r>
              <a:rPr lang="nl-NL" sz="2400" b="1" dirty="0">
                <a:latin typeface="Consolas" panose="020B0609020204030204" pitchFamily="49" charset="0"/>
                <a:sym typeface="Wingdings" panose="05000000000000000000" pitchFamily="2" charset="2"/>
              </a:rPr>
              <a:t> </a:t>
            </a:r>
            <a:r>
              <a:rPr lang="nl-NL" sz="2400" dirty="0">
                <a:latin typeface="+mn-lt"/>
                <a:sym typeface="Wingdings" panose="05000000000000000000" pitchFamily="2" charset="2"/>
              </a:rPr>
              <a:t>calls</a:t>
            </a:r>
            <a:r>
              <a:rPr lang="nl-NL" sz="2400" b="1" dirty="0">
                <a:latin typeface="Consolas" panose="020B0609020204030204" pitchFamily="49" charset="0"/>
                <a:sym typeface="Wingdings" panose="05000000000000000000" pitchFamily="2" charset="2"/>
              </a:rPr>
              <a:t> </a:t>
            </a:r>
            <a:r>
              <a:rPr lang="nl-NL" sz="2400" b="1" dirty="0" err="1">
                <a:latin typeface="Consolas" panose="020B0609020204030204" pitchFamily="49" charset="0"/>
                <a:sym typeface="Wingdings" panose="05000000000000000000" pitchFamily="2" charset="2"/>
              </a:rPr>
              <a:t>A.d.__set</a:t>
            </a:r>
            <a:r>
              <a:rPr lang="nl-NL" sz="2400" b="1" dirty="0">
                <a:latin typeface="Consolas" panose="020B0609020204030204" pitchFamily="49" charset="0"/>
                <a:sym typeface="Wingdings" panose="05000000000000000000" pitchFamily="2" charset="2"/>
              </a:rPr>
              <a:t>__(a, 42)</a:t>
            </a:r>
          </a:p>
          <a:p>
            <a:pPr marL="539750" lvl="4" indent="0">
              <a:lnSpc>
                <a:spcPct val="80000"/>
              </a:lnSpc>
              <a:buNone/>
            </a:pPr>
            <a:endParaRPr lang="nl-NL" sz="2400" b="1" dirty="0">
              <a:latin typeface="Consolas" panose="020B0609020204030204" pitchFamily="49" charset="0"/>
            </a:endParaRPr>
          </a:p>
          <a:p>
            <a:pPr marL="342900" indent="-342900">
              <a:buFont typeface="Arial" panose="020B0604020202020204" pitchFamily="34" charset="0"/>
              <a:buChar char="•"/>
            </a:pPr>
            <a:r>
              <a:rPr lang="nl-NL" sz="2400" dirty="0" err="1"/>
              <a:t>So</a:t>
            </a:r>
            <a:r>
              <a:rPr lang="nl-NL" sz="2400" dirty="0"/>
              <a:t> </a:t>
            </a:r>
            <a:r>
              <a:rPr lang="nl-NL" sz="2400" dirty="0" err="1"/>
              <a:t>why</a:t>
            </a:r>
            <a:r>
              <a:rPr lang="nl-NL" sz="2400" dirty="0"/>
              <a:t> is </a:t>
            </a:r>
            <a:r>
              <a:rPr lang="nl-NL" sz="2400" dirty="0" err="1"/>
              <a:t>the</a:t>
            </a:r>
            <a:r>
              <a:rPr lang="nl-NL" sz="2400" dirty="0"/>
              <a:t> </a:t>
            </a:r>
            <a:r>
              <a:rPr lang="nl-NL" sz="2400" b="1" dirty="0">
                <a:latin typeface="Consolas" panose="020B0609020204030204" pitchFamily="49" charset="0"/>
              </a:rPr>
              <a:t>__set__ </a:t>
            </a:r>
            <a:r>
              <a:rPr lang="nl-NL" sz="2400" dirty="0" err="1"/>
              <a:t>method</a:t>
            </a:r>
            <a:r>
              <a:rPr lang="nl-NL" sz="2400" dirty="0"/>
              <a:t> </a:t>
            </a:r>
            <a:r>
              <a:rPr lang="nl-NL" sz="2400" dirty="0" err="1"/>
              <a:t>called</a:t>
            </a:r>
            <a:r>
              <a:rPr lang="nl-NL" sz="2400" dirty="0"/>
              <a:t>, </a:t>
            </a:r>
            <a:r>
              <a:rPr lang="nl-NL" sz="2400" dirty="0" err="1"/>
              <a:t>instead</a:t>
            </a:r>
            <a:r>
              <a:rPr lang="nl-NL" sz="2400" dirty="0"/>
              <a:t> of setting </a:t>
            </a:r>
            <a:r>
              <a:rPr lang="nl-NL" sz="2400" b="1" dirty="0">
                <a:latin typeface="Consolas" panose="020B0609020204030204" pitchFamily="49" charset="0"/>
              </a:rPr>
              <a:t>a.__</a:t>
            </a:r>
            <a:r>
              <a:rPr lang="nl-NL" sz="2400" b="1" dirty="0" err="1">
                <a:latin typeface="Consolas" panose="020B0609020204030204" pitchFamily="49" charset="0"/>
              </a:rPr>
              <a:t>dict</a:t>
            </a:r>
            <a:r>
              <a:rPr lang="nl-NL" sz="2400" b="1" dirty="0">
                <a:latin typeface="Consolas" panose="020B0609020204030204" pitchFamily="49" charset="0"/>
              </a:rPr>
              <a:t>__["d"]</a:t>
            </a:r>
            <a:r>
              <a:rPr lang="nl-NL" sz="2400" dirty="0"/>
              <a:t> </a:t>
            </a:r>
            <a:r>
              <a:rPr lang="nl-NL" sz="2400" dirty="0" err="1"/>
              <a:t>to</a:t>
            </a:r>
            <a:r>
              <a:rPr lang="nl-NL" sz="2400" dirty="0"/>
              <a:t> 42?</a:t>
            </a:r>
            <a:endParaRPr lang="nl-NL" sz="2800"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Descriptor are </a:t>
            </a:r>
            <a:r>
              <a:rPr lang="nl-NL" sz="3000" cap="none" dirty="0" err="1">
                <a:solidFill>
                  <a:schemeClr val="accent1"/>
                </a:solidFill>
              </a:rPr>
              <a:t>used</a:t>
            </a:r>
            <a:r>
              <a:rPr lang="nl-NL" sz="3000" cap="none" dirty="0">
                <a:solidFill>
                  <a:schemeClr val="accent1"/>
                </a:solidFill>
              </a:rPr>
              <a:t> as </a:t>
            </a:r>
            <a:r>
              <a:rPr lang="nl-NL" sz="3000" cap="none" dirty="0" err="1">
                <a:solidFill>
                  <a:schemeClr val="accent1"/>
                </a:solidFill>
              </a:rPr>
              <a:t>attributes</a:t>
            </a:r>
            <a:endParaRPr lang="en-US" sz="3000" cap="none" dirty="0">
              <a:solidFill>
                <a:schemeClr val="accent1"/>
              </a:solidFill>
            </a:endParaRPr>
          </a:p>
        </p:txBody>
      </p:sp>
    </p:spTree>
    <p:extLst>
      <p:ext uri="{BB962C8B-B14F-4D97-AF65-F5344CB8AC3E}">
        <p14:creationId xmlns:p14="http://schemas.microsoft.com/office/powerpoint/2010/main" val="20505580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2264961"/>
            <a:ext cx="11329987" cy="1477328"/>
          </a:xfrm>
        </p:spPr>
        <p:txBody>
          <a:bodyPr/>
          <a:lstStyle/>
          <a:p>
            <a:r>
              <a:rPr lang="en-US" dirty="0"/>
              <a:t>Attribute access mechanism</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6524856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err="1"/>
              <a:t>Attribute</a:t>
            </a:r>
            <a:r>
              <a:rPr lang="nl-NL" sz="2400" dirty="0"/>
              <a:t> access is </a:t>
            </a:r>
            <a:r>
              <a:rPr lang="nl-NL" sz="2400" i="1" dirty="0" err="1"/>
              <a:t>not</a:t>
            </a:r>
            <a:r>
              <a:rPr lang="nl-NL" sz="2400" dirty="0"/>
              <a:t> </a:t>
            </a:r>
            <a:r>
              <a:rPr lang="nl-NL" sz="2400" dirty="0" err="1"/>
              <a:t>hardwired</a:t>
            </a:r>
            <a:r>
              <a:rPr lang="nl-NL" sz="2400" dirty="0"/>
              <a:t> in </a:t>
            </a:r>
            <a:r>
              <a:rPr lang="nl-NL" sz="2400" dirty="0" err="1"/>
              <a:t>the</a:t>
            </a:r>
            <a:r>
              <a:rPr lang="nl-NL" sz="2400" dirty="0"/>
              <a:t> </a:t>
            </a:r>
            <a:r>
              <a:rPr lang="nl-NL" sz="2400" dirty="0" err="1"/>
              <a:t>language</a:t>
            </a:r>
            <a:r>
              <a:rPr lang="nl-NL" sz="2400" dirty="0"/>
              <a:t>.</a:t>
            </a:r>
          </a:p>
          <a:p>
            <a:pPr marL="342900" indent="-342900">
              <a:buFont typeface="Arial" panose="020B0604020202020204" pitchFamily="34" charset="0"/>
              <a:buChar char="•"/>
            </a:pPr>
            <a:r>
              <a:rPr lang="nl-NL" sz="2400" dirty="0"/>
              <a:t>The </a:t>
            </a:r>
            <a:r>
              <a:rPr lang="nl-NL" sz="2400" dirty="0" err="1"/>
              <a:t>only</a:t>
            </a:r>
            <a:r>
              <a:rPr lang="nl-NL" sz="2400" dirty="0"/>
              <a:t> </a:t>
            </a:r>
            <a:r>
              <a:rPr lang="nl-NL" sz="2400" dirty="0" err="1"/>
              <a:t>thing</a:t>
            </a:r>
            <a:r>
              <a:rPr lang="nl-NL" sz="2400" dirty="0"/>
              <a:t> </a:t>
            </a:r>
            <a:r>
              <a:rPr lang="nl-NL" sz="2400" dirty="0" err="1"/>
              <a:t>the</a:t>
            </a:r>
            <a:r>
              <a:rPr lang="nl-NL" sz="2400" dirty="0"/>
              <a:t> Python </a:t>
            </a:r>
            <a:r>
              <a:rPr lang="nl-NL" sz="2400" dirty="0" err="1"/>
              <a:t>runtime</a:t>
            </a:r>
            <a:r>
              <a:rPr lang="nl-NL" sz="2400" dirty="0"/>
              <a:t> does </a:t>
            </a:r>
            <a:r>
              <a:rPr lang="nl-NL" sz="2400" dirty="0" err="1"/>
              <a:t>for</a:t>
            </a:r>
            <a:r>
              <a:rPr lang="nl-NL" sz="2400" dirty="0"/>
              <a:t> </a:t>
            </a:r>
            <a:r>
              <a:rPr lang="nl-NL" sz="2400" dirty="0" err="1"/>
              <a:t>getting</a:t>
            </a:r>
            <a:r>
              <a:rPr lang="nl-NL" sz="2400" dirty="0"/>
              <a:t>, setting, or </a:t>
            </a:r>
            <a:r>
              <a:rPr lang="nl-NL" sz="2400" dirty="0" err="1"/>
              <a:t>deleting</a:t>
            </a:r>
            <a:r>
              <a:rPr lang="nl-NL" sz="2400" dirty="0"/>
              <a:t> </a:t>
            </a:r>
            <a:r>
              <a:rPr lang="nl-NL" sz="2400" dirty="0" err="1"/>
              <a:t>an</a:t>
            </a:r>
            <a:r>
              <a:rPr lang="nl-NL" sz="2400" dirty="0"/>
              <a:t> </a:t>
            </a:r>
            <a:r>
              <a:rPr lang="nl-NL" sz="2400" dirty="0" err="1"/>
              <a:t>attribute</a:t>
            </a:r>
            <a:r>
              <a:rPr lang="nl-NL" sz="2400" dirty="0"/>
              <a:t> </a:t>
            </a:r>
            <a:r>
              <a:rPr lang="nl-NL" sz="2400" b="1" dirty="0" err="1">
                <a:latin typeface="Consolas" panose="020B0609020204030204" pitchFamily="49" charset="0"/>
              </a:rPr>
              <a:t>obj.x</a:t>
            </a:r>
            <a:r>
              <a:rPr lang="nl-NL" sz="2400" dirty="0"/>
              <a:t> is </a:t>
            </a:r>
            <a:r>
              <a:rPr lang="nl-NL" sz="2400" dirty="0" err="1"/>
              <a:t>to</a:t>
            </a:r>
            <a:r>
              <a:rPr lang="nl-NL" sz="2400" dirty="0"/>
              <a:t> call a </a:t>
            </a:r>
            <a:r>
              <a:rPr lang="nl-NL" sz="2400" b="1" dirty="0">
                <a:latin typeface="Consolas" panose="020B0609020204030204" pitchFamily="49" charset="0"/>
              </a:rPr>
              <a:t>__</a:t>
            </a:r>
            <a:r>
              <a:rPr lang="nl-NL" sz="2400" b="1" dirty="0" err="1">
                <a:latin typeface="Consolas" panose="020B0609020204030204" pitchFamily="49" charset="0"/>
              </a:rPr>
              <a:t>dunder</a:t>
            </a:r>
            <a:r>
              <a:rPr lang="nl-NL" sz="2400" b="1" dirty="0">
                <a:latin typeface="Consolas" panose="020B0609020204030204" pitchFamily="49" charset="0"/>
              </a:rPr>
              <a:t>__</a:t>
            </a:r>
            <a:r>
              <a:rPr lang="nl-NL" sz="2400" dirty="0"/>
              <a:t> </a:t>
            </a:r>
            <a:r>
              <a:rPr lang="nl-NL" sz="2400" dirty="0" err="1"/>
              <a:t>method</a:t>
            </a:r>
            <a:r>
              <a:rPr lang="nl-NL" sz="2400" dirty="0"/>
              <a:t>:</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 v </a:t>
            </a:r>
            <a:r>
              <a:rPr lang="nl-NL" sz="2200"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setattr</a:t>
            </a:r>
            <a:r>
              <a:rPr lang="nl-NL" sz="2200" b="1" dirty="0">
                <a:latin typeface="Consolas" panose="020B0609020204030204" pitchFamily="49" charset="0"/>
              </a:rPr>
              <a:t>__("x", v)</a:t>
            </a:r>
          </a:p>
          <a:p>
            <a:pPr marL="520700" lvl="1" indent="-342900">
              <a:buFont typeface="Arial" panose="020B0604020202020204" pitchFamily="34" charset="0"/>
              <a:buChar char="•"/>
            </a:pPr>
            <a:r>
              <a:rPr lang="nl-NL" sz="2200" b="1" dirty="0">
                <a:latin typeface="Consolas" panose="020B0609020204030204" pitchFamily="49" charset="0"/>
              </a:rPr>
              <a:t>del </a:t>
            </a: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delattr</a:t>
            </a:r>
            <a:r>
              <a:rPr lang="nl-NL" sz="2200" b="1" dirty="0">
                <a:latin typeface="Consolas" panose="020B0609020204030204" pitchFamily="49" charset="0"/>
              </a:rPr>
              <a:t>__("x)</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getattribute</a:t>
            </a:r>
            <a:r>
              <a:rPr lang="nl-NL" sz="2200" b="1" dirty="0">
                <a:latin typeface="Consolas" panose="020B0609020204030204" pitchFamily="49" charset="0"/>
              </a:rPr>
              <a:t>__("x")</a:t>
            </a:r>
          </a:p>
          <a:p>
            <a:pPr marL="342900" indent="-342900">
              <a:buFont typeface="Arial" panose="020B0604020202020204" pitchFamily="34" charset="0"/>
              <a:buChar char="•"/>
            </a:pPr>
            <a:r>
              <a:rPr lang="nl-NL" sz="2400" dirty="0"/>
              <a:t>Without </a:t>
            </a:r>
            <a:r>
              <a:rPr lang="nl-NL" sz="2400" dirty="0" err="1"/>
              <a:t>any</a:t>
            </a:r>
            <a:r>
              <a:rPr lang="nl-NL" sz="2400" dirty="0"/>
              <a:t> </a:t>
            </a:r>
            <a:r>
              <a:rPr lang="nl-NL" sz="2400" dirty="0" err="1"/>
              <a:t>specialization</a:t>
            </a:r>
            <a:r>
              <a:rPr lang="nl-NL" sz="2400" dirty="0"/>
              <a:t> in </a:t>
            </a:r>
            <a:r>
              <a:rPr lang="nl-NL" sz="2400" dirty="0" err="1"/>
              <a:t>subclasses</a:t>
            </a:r>
            <a:r>
              <a:rPr lang="nl-NL" sz="2400" dirty="0"/>
              <a:t>, </a:t>
            </a:r>
            <a:r>
              <a:rPr lang="nl-NL" sz="2400" dirty="0" err="1"/>
              <a:t>the</a:t>
            </a:r>
            <a:r>
              <a:rPr lang="nl-NL" sz="2400" dirty="0"/>
              <a:t> effect is </a:t>
            </a:r>
            <a:r>
              <a:rPr lang="nl-NL" sz="2400" dirty="0" err="1"/>
              <a:t>that</a:t>
            </a:r>
            <a:r>
              <a:rPr lang="nl-NL" sz="2400" dirty="0"/>
              <a:t>:</a:t>
            </a:r>
          </a:p>
          <a:p>
            <a:pPr marL="520700" lvl="1" indent="-342900">
              <a:buFont typeface="Arial" panose="020B0604020202020204" pitchFamily="34" charset="0"/>
              <a:buChar char="•"/>
            </a:pPr>
            <a:r>
              <a:rPr lang="nl-NL" sz="2200" dirty="0"/>
              <a:t>For </a:t>
            </a:r>
            <a:r>
              <a:rPr lang="nl-NL" sz="2200" dirty="0" err="1"/>
              <a:t>regular</a:t>
            </a:r>
            <a:r>
              <a:rPr lang="nl-NL" sz="2200" dirty="0"/>
              <a:t> </a:t>
            </a:r>
            <a:r>
              <a:rPr lang="nl-NL" sz="2200" dirty="0" err="1"/>
              <a:t>instances</a:t>
            </a:r>
            <a:r>
              <a:rPr lang="nl-NL" sz="2200" dirty="0"/>
              <a:t>, </a:t>
            </a:r>
            <a:r>
              <a:rPr lang="nl-NL" sz="2200" dirty="0" err="1"/>
              <a:t>the</a:t>
            </a:r>
            <a:r>
              <a:rPr lang="nl-NL" sz="2200" dirty="0"/>
              <a:t> logic in </a:t>
            </a:r>
            <a:r>
              <a:rPr lang="nl-NL" sz="2200" b="1" dirty="0">
                <a:latin typeface="Consolas" panose="020B0609020204030204" pitchFamily="49" charset="0"/>
              </a:rPr>
              <a:t>object.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t> </a:t>
            </a:r>
            <a:r>
              <a:rPr lang="nl-NL" sz="2200" dirty="0" err="1"/>
              <a:t>and</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p>
          <a:p>
            <a:pPr marL="520700" lvl="1" indent="-342900">
              <a:buFont typeface="Arial" panose="020B0604020202020204" pitchFamily="34" charset="0"/>
              <a:buChar char="•"/>
            </a:pPr>
            <a:r>
              <a:rPr lang="nl-NL" sz="2200" dirty="0">
                <a:latin typeface="Ubuntu" panose="020B0604020202020204" charset="0"/>
              </a:rPr>
              <a:t>For class </a:t>
            </a:r>
            <a:r>
              <a:rPr lang="nl-NL" sz="2200" dirty="0" err="1">
                <a:latin typeface="Ubuntu" panose="020B0604020202020204" charset="0"/>
              </a:rPr>
              <a:t>attributes</a:t>
            </a:r>
            <a:r>
              <a:rPr lang="nl-NL" sz="2200" dirty="0">
                <a:latin typeface="Ubuntu" panose="020B0604020202020204" charset="0"/>
              </a:rPr>
              <a:t>, </a:t>
            </a:r>
            <a:r>
              <a:rPr lang="nl-NL" sz="2200" dirty="0" err="1">
                <a:latin typeface="Ubuntu" panose="020B0604020202020204" charset="0"/>
              </a:rPr>
              <a:t>the</a:t>
            </a:r>
            <a:r>
              <a:rPr lang="nl-NL" sz="2200" dirty="0">
                <a:latin typeface="Ubuntu" panose="020B0604020202020204" charset="0"/>
              </a:rPr>
              <a:t> logic in </a:t>
            </a:r>
            <a:r>
              <a:rPr lang="nl-NL" sz="2200" b="1" dirty="0">
                <a:latin typeface="Consolas" panose="020B0609020204030204" pitchFamily="49" charset="0"/>
              </a:rPr>
              <a:t>type.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and</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a:t>
            </a:r>
            <a:r>
              <a:rPr lang="nl-NL" sz="2200" dirty="0" err="1">
                <a:latin typeface="Ubuntu" panose="020B0604020202020204" charset="0"/>
              </a:rPr>
              <a:t>that</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ccess</a:t>
            </a:r>
            <a:endParaRPr lang="en-US" sz="3000" cap="none" dirty="0">
              <a:solidFill>
                <a:schemeClr val="accent1"/>
              </a:solidFill>
            </a:endParaRPr>
          </a:p>
        </p:txBody>
      </p:sp>
    </p:spTree>
    <p:extLst>
      <p:ext uri="{BB962C8B-B14F-4D97-AF65-F5344CB8AC3E}">
        <p14:creationId xmlns:p14="http://schemas.microsoft.com/office/powerpoint/2010/main" val="1990675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ttribute_access.py</a:t>
            </a:r>
            <a:endParaRPr lang="en-US" sz="3000" cap="none" dirty="0">
              <a:solidFill>
                <a:schemeClr val="accent1"/>
              </a:solidFill>
            </a:endParaRPr>
          </a:p>
        </p:txBody>
      </p:sp>
    </p:spTree>
    <p:extLst>
      <p:ext uri="{BB962C8B-B14F-4D97-AF65-F5344CB8AC3E}">
        <p14:creationId xmlns:p14="http://schemas.microsoft.com/office/powerpoint/2010/main" val="32199792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For </a:t>
            </a:r>
            <a:r>
              <a:rPr lang="nl-NL" sz="2400" dirty="0" err="1"/>
              <a:t>instance</a:t>
            </a:r>
            <a:r>
              <a:rPr lang="nl-NL" sz="2400" dirty="0"/>
              <a:t> </a:t>
            </a:r>
            <a:r>
              <a:rPr lang="nl-NL" sz="2400" dirty="0" err="1"/>
              <a:t>attributes</a:t>
            </a:r>
            <a:r>
              <a:rPr lang="nl-NL" sz="2400" dirty="0"/>
              <a:t>, </a:t>
            </a:r>
            <a:r>
              <a:rPr lang="nl-NL" sz="2400" b="1" dirty="0">
                <a:latin typeface="Consolas" panose="020B0609020204030204" pitchFamily="49" charset="0"/>
              </a:rPr>
              <a:t>object.__</a:t>
            </a:r>
            <a:r>
              <a:rPr lang="nl-NL" sz="2400" b="1" dirty="0" err="1">
                <a:latin typeface="Consolas" panose="020B0609020204030204" pitchFamily="49" charset="0"/>
              </a:rPr>
              <a:t>getattribute</a:t>
            </a:r>
            <a:r>
              <a:rPr lang="nl-NL" sz="2400" b="1" dirty="0">
                <a:latin typeface="Consolas" panose="020B0609020204030204" pitchFamily="49" charset="0"/>
              </a:rPr>
              <a:t>__</a:t>
            </a:r>
            <a:r>
              <a:rPr lang="nl-NL" sz="2400" dirty="0"/>
              <a:t>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a:t>
            </a:r>
            <a:r>
              <a:rPr lang="nl-NL" sz="2400" dirty="0" err="1"/>
              <a:t>instance</a:t>
            </a:r>
            <a:r>
              <a:rPr lang="nl-NL" sz="2400" dirty="0"/>
              <a:t>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a:t>For class </a:t>
            </a:r>
            <a:r>
              <a:rPr lang="nl-NL" sz="2400" dirty="0" err="1"/>
              <a:t>attributes</a:t>
            </a:r>
            <a:r>
              <a:rPr lang="nl-NL" sz="2400" dirty="0"/>
              <a:t>, </a:t>
            </a:r>
            <a:r>
              <a:rPr lang="nl-NL" sz="2400" b="1" dirty="0">
                <a:latin typeface="Consolas" panose="020B0609020204030204" pitchFamily="49" charset="0"/>
              </a:rPr>
              <a:t>type.__</a:t>
            </a:r>
            <a:r>
              <a:rPr lang="nl-NL" sz="2400" b="1" dirty="0" err="1">
                <a:latin typeface="Consolas" panose="020B0609020204030204" pitchFamily="49" charset="0"/>
              </a:rPr>
              <a:t>getattribute</a:t>
            </a:r>
            <a:r>
              <a:rPr lang="nl-NL" sz="2400" b="1" dirty="0">
                <a:latin typeface="Consolas" panose="020B0609020204030204" pitchFamily="49" charset="0"/>
              </a:rPr>
              <a:t>__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class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err="1"/>
              <a:t>So</a:t>
            </a:r>
            <a:r>
              <a:rPr lang="nl-NL" sz="2400" dirty="0"/>
              <a:t>, </a:t>
            </a:r>
            <a:r>
              <a:rPr lang="nl-NL" sz="2400" dirty="0" err="1"/>
              <a:t>what</a:t>
            </a:r>
            <a:r>
              <a:rPr lang="nl-NL" sz="2400" dirty="0"/>
              <a:t> </a:t>
            </a:r>
            <a:r>
              <a:rPr lang="nl-NL" sz="2400" dirty="0" err="1"/>
              <a:t>happens</a:t>
            </a:r>
            <a:r>
              <a:rPr lang="nl-NL" sz="2400" dirty="0"/>
              <a:t> in these calls?</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nalysis</a:t>
            </a:r>
            <a:endParaRPr lang="en-US" sz="3000" cap="none" dirty="0">
              <a:solidFill>
                <a:schemeClr val="accent1"/>
              </a:solidFill>
            </a:endParaRPr>
          </a:p>
        </p:txBody>
      </p:sp>
    </p:spTree>
    <p:extLst>
      <p:ext uri="{BB962C8B-B14F-4D97-AF65-F5344CB8AC3E}">
        <p14:creationId xmlns:p14="http://schemas.microsoft.com/office/powerpoint/2010/main" val="38670756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lnSpcReduction="20000"/>
          </a:bodyPr>
          <a:lstStyle/>
          <a:p>
            <a:pPr marL="342900" indent="-342900">
              <a:buFont typeface="Arial" panose="020B0604020202020204" pitchFamily="34" charset="0"/>
              <a:buChar char="•"/>
            </a:pPr>
            <a:r>
              <a:rPr lang="nl-NL" sz="2400" dirty="0"/>
              <a:t>In </a:t>
            </a:r>
            <a:r>
              <a:rPr lang="nl-NL" sz="2400" dirty="0" err="1"/>
              <a:t>all</a:t>
            </a:r>
            <a:r>
              <a:rPr lang="nl-NL" sz="2400" dirty="0"/>
              <a:t> of these cases, </a:t>
            </a:r>
            <a:r>
              <a:rPr lang="nl-NL" sz="2400" dirty="0" err="1"/>
              <a:t>one</a:t>
            </a:r>
            <a:r>
              <a:rPr lang="nl-NL" sz="2400" dirty="0"/>
              <a:t> of </a:t>
            </a:r>
            <a:r>
              <a:rPr lang="nl-NL" sz="2400" dirty="0" err="1"/>
              <a:t>the</a:t>
            </a:r>
            <a:r>
              <a:rPr lang="nl-NL" sz="2400" dirty="0"/>
              <a:t> </a:t>
            </a:r>
            <a:r>
              <a:rPr lang="nl-NL" sz="2400" dirty="0" err="1"/>
              <a:t>things</a:t>
            </a:r>
            <a:r>
              <a:rPr lang="nl-NL" sz="2400" dirty="0"/>
              <a:t> </a:t>
            </a:r>
            <a:r>
              <a:rPr lang="nl-NL" sz="2400" dirty="0" err="1"/>
              <a:t>that</a:t>
            </a:r>
            <a:r>
              <a:rPr lang="nl-NL" sz="2400" dirty="0"/>
              <a:t> </a:t>
            </a:r>
            <a:r>
              <a:rPr lang="nl-NL" sz="2400" dirty="0" err="1"/>
              <a:t>always</a:t>
            </a:r>
            <a:r>
              <a:rPr lang="nl-NL" sz="2400" dirty="0"/>
              <a:t> </a:t>
            </a:r>
            <a:r>
              <a:rPr lang="nl-NL" sz="2400" dirty="0" err="1"/>
              <a:t>happens</a:t>
            </a:r>
            <a:r>
              <a:rPr lang="nl-NL" sz="2400" dirty="0"/>
              <a:t> is </a:t>
            </a:r>
            <a:r>
              <a:rPr lang="nl-NL" sz="2400" dirty="0" err="1"/>
              <a:t>that</a:t>
            </a:r>
            <a:r>
              <a:rPr lang="nl-NL" sz="2400" dirty="0"/>
              <a:t> </a:t>
            </a:r>
            <a:r>
              <a:rPr lang="nl-NL" sz="2400" dirty="0" err="1"/>
              <a:t>the</a:t>
            </a:r>
            <a:r>
              <a:rPr lang="nl-NL" sz="2400" dirty="0"/>
              <a:t> MRO of </a:t>
            </a:r>
            <a:r>
              <a:rPr lang="nl-NL" sz="2400" dirty="0" err="1"/>
              <a:t>the</a:t>
            </a:r>
            <a:r>
              <a:rPr lang="nl-NL" sz="2400" dirty="0"/>
              <a:t> </a:t>
            </a:r>
            <a:r>
              <a:rPr lang="nl-NL" sz="2400" dirty="0" err="1"/>
              <a:t>object's</a:t>
            </a:r>
            <a:r>
              <a:rPr lang="nl-NL" sz="2400" dirty="0"/>
              <a:t> type is </a:t>
            </a:r>
            <a:r>
              <a:rPr lang="nl-NL" sz="2400" dirty="0" err="1"/>
              <a:t>searched</a:t>
            </a:r>
            <a:r>
              <a:rPr lang="nl-NL" sz="2400" dirty="0"/>
              <a:t> </a:t>
            </a:r>
            <a:r>
              <a:rPr lang="nl-NL" sz="2400" dirty="0" err="1"/>
              <a:t>for</a:t>
            </a:r>
            <a:r>
              <a:rPr lang="nl-NL" sz="2400" dirty="0"/>
              <a:t> </a:t>
            </a:r>
            <a:r>
              <a:rPr lang="nl-NL" sz="2400" dirty="0" err="1"/>
              <a:t>the</a:t>
            </a:r>
            <a:r>
              <a:rPr lang="nl-NL" sz="2400" dirty="0"/>
              <a:t> </a:t>
            </a:r>
            <a:r>
              <a:rPr lang="nl-NL" sz="2400" dirty="0" err="1"/>
              <a:t>attribute's</a:t>
            </a:r>
            <a:r>
              <a:rPr lang="nl-NL" sz="2400" dirty="0"/>
              <a:t> name.</a:t>
            </a:r>
          </a:p>
          <a:p>
            <a:pPr marL="342900" indent="-342900">
              <a:buFont typeface="Arial" panose="020B0604020202020204" pitchFamily="34" charset="0"/>
              <a:buChar char="•"/>
            </a:pPr>
            <a:r>
              <a:rPr lang="en-US" sz="2400" dirty="0"/>
              <a:t>The following code emulates searching the MRO:</a:t>
            </a:r>
          </a:p>
          <a:p>
            <a:pPr marL="342900" indent="-342900">
              <a:buFont typeface="Arial" panose="020B0604020202020204" pitchFamily="34" charset="0"/>
              <a:buChar char="•"/>
            </a:pPr>
            <a:endParaRPr lang="en-US" sz="2200" dirty="0"/>
          </a:p>
          <a:p>
            <a:pPr marL="361950" lvl="3" indent="0">
              <a:buNone/>
            </a:pPr>
            <a:r>
              <a:rPr lang="en-US" sz="2400" b="1" dirty="0">
                <a:latin typeface="Consolas" panose="020B0609020204030204" pitchFamily="49" charset="0"/>
              </a:rPr>
              <a:t>def </a:t>
            </a:r>
            <a:r>
              <a:rPr lang="en-US" sz="2400" b="1" dirty="0" err="1">
                <a:latin typeface="Consolas" panose="020B0609020204030204" pitchFamily="49" charset="0"/>
              </a:rPr>
              <a:t>find_name_in_mro</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 name, default, </a:t>
            </a:r>
            <a:r>
              <a:rPr lang="en-US" sz="2400" b="1" dirty="0" err="1">
                <a:latin typeface="Consolas" panose="020B0609020204030204" pitchFamily="49" charset="0"/>
              </a:rPr>
              <a:t>start_after</a:t>
            </a:r>
            <a:r>
              <a:rPr lang="en-US" sz="2400" b="1" dirty="0">
                <a:latin typeface="Consolas" panose="020B0609020204030204" pitchFamily="49" charset="0"/>
              </a:rPr>
              <a:t>=None):</a:t>
            </a:r>
          </a:p>
          <a:p>
            <a:pPr marL="361950" lvl="3" indent="0">
              <a:buNone/>
            </a:pPr>
            <a:r>
              <a:rPr lang="en-US" sz="2400" b="1" dirty="0">
                <a:latin typeface="Consolas" panose="020B0609020204030204" pitchFamily="49" charset="0"/>
              </a:rPr>
              <a:t>    </a:t>
            </a:r>
            <a:r>
              <a:rPr lang="en-US" sz="2400" b="1" dirty="0" err="1">
                <a:latin typeface="Consolas" panose="020B0609020204030204" pitchFamily="49" charset="0"/>
              </a:rPr>
              <a:t>mro</a:t>
            </a:r>
            <a:r>
              <a:rPr lang="en-US" sz="2400" b="1" dirty="0">
                <a:latin typeface="Consolas" panose="020B0609020204030204" pitchFamily="49" charset="0"/>
              </a:rPr>
              <a:t> = </a:t>
            </a:r>
            <a:r>
              <a:rPr lang="en-US" sz="2400" b="1" dirty="0" err="1">
                <a:latin typeface="Consolas" panose="020B0609020204030204" pitchFamily="49" charset="0"/>
              </a:rPr>
              <a:t>iter</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__</a:t>
            </a:r>
            <a:r>
              <a:rPr lang="en-US" sz="2400" b="1" dirty="0" err="1">
                <a:latin typeface="Consolas" panose="020B0609020204030204" pitchFamily="49" charset="0"/>
              </a:rPr>
              <a:t>mro</a:t>
            </a:r>
            <a:r>
              <a:rPr lang="en-US" sz="2400" b="1" dirty="0">
                <a:latin typeface="Consolas" panose="020B0609020204030204" pitchFamily="49" charset="0"/>
              </a:rPr>
              <a:t>__)</a:t>
            </a:r>
          </a:p>
          <a:p>
            <a:pPr marL="361950" lvl="3" indent="0">
              <a:buNone/>
            </a:pPr>
            <a:r>
              <a:rPr lang="en-US" sz="2400" b="1" dirty="0">
                <a:latin typeface="Consolas" panose="020B0609020204030204" pitchFamily="49" charset="0"/>
              </a:rPr>
              <a:t>    if </a:t>
            </a:r>
            <a:r>
              <a:rPr lang="en-US" sz="2400" b="1" dirty="0" err="1">
                <a:latin typeface="Consolas" panose="020B0609020204030204" pitchFamily="49" charset="0"/>
              </a:rPr>
              <a:t>start_after</a:t>
            </a:r>
            <a:r>
              <a:rPr lang="en-US" sz="2400" b="1" dirty="0">
                <a:latin typeface="Consolas" panose="020B0609020204030204" pitchFamily="49" charset="0"/>
              </a:rPr>
              <a:t>:  # Only used for `super()` lookup</a:t>
            </a:r>
          </a:p>
          <a:p>
            <a:pPr marL="361950" lvl="3" indent="0">
              <a:buNone/>
            </a:pPr>
            <a:r>
              <a:rPr lang="en-US" sz="2400" b="1" dirty="0">
                <a:latin typeface="Consolas" panose="020B0609020204030204" pitchFamily="49" charset="0"/>
              </a:rPr>
              <a:t>        for base in </a:t>
            </a:r>
            <a:r>
              <a:rPr lang="en-US" sz="2400" b="1" dirty="0" err="1">
                <a:latin typeface="Consolas" panose="020B0609020204030204" pitchFamily="49" charset="0"/>
              </a:rPr>
              <a:t>mro</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if base is </a:t>
            </a:r>
            <a:r>
              <a:rPr lang="en-US" sz="2400" b="1" dirty="0" err="1">
                <a:latin typeface="Consolas" panose="020B0609020204030204" pitchFamily="49" charset="0"/>
              </a:rPr>
              <a:t>start_after</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break  # Start searching from the next base class</a:t>
            </a:r>
          </a:p>
          <a:p>
            <a:pPr marL="361950" lvl="3" indent="0">
              <a:buNone/>
            </a:pPr>
            <a:r>
              <a:rPr lang="en-US" sz="2400" b="1" dirty="0">
                <a:latin typeface="Consolas" panose="020B0609020204030204" pitchFamily="49" charset="0"/>
              </a:rPr>
              <a:t>    for base in __</a:t>
            </a:r>
            <a:r>
              <a:rPr lang="en-US" sz="2400" b="1" dirty="0" err="1">
                <a:latin typeface="Consolas" panose="020B0609020204030204" pitchFamily="49" charset="0"/>
              </a:rPr>
              <a:t>mro</a:t>
            </a:r>
            <a:r>
              <a:rPr lang="en-US" sz="2400" b="1" dirty="0">
                <a:latin typeface="Consolas" panose="020B0609020204030204" pitchFamily="49" charset="0"/>
              </a:rPr>
              <a:t>__:</a:t>
            </a:r>
          </a:p>
          <a:p>
            <a:pPr marL="361950" lvl="3" indent="0">
              <a:buNone/>
            </a:pPr>
            <a:r>
              <a:rPr lang="en-US" sz="2400" b="1" dirty="0">
                <a:latin typeface="Consolas" panose="020B0609020204030204" pitchFamily="49" charset="0"/>
              </a:rPr>
              <a:t>        if name in vars(base):</a:t>
            </a:r>
          </a:p>
          <a:p>
            <a:pPr marL="361950" lvl="3" indent="0">
              <a:buNone/>
            </a:pPr>
            <a:r>
              <a:rPr lang="en-US" sz="2400" b="1" dirty="0">
                <a:latin typeface="Consolas" panose="020B0609020204030204" pitchFamily="49" charset="0"/>
              </a:rPr>
              <a:t>            return vars(base)[name]</a:t>
            </a:r>
          </a:p>
          <a:p>
            <a:pPr marL="361950" lvl="3" indent="0">
              <a:buNone/>
            </a:pPr>
            <a:r>
              <a:rPr lang="en-US" sz="2400" b="1" dirty="0">
                <a:latin typeface="Consolas" panose="020B0609020204030204" pitchFamily="49" charset="0"/>
              </a:rPr>
              <a:t>    return default</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Search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MRO</a:t>
            </a:r>
            <a:endParaRPr lang="en-US" sz="3000" cap="none" dirty="0">
              <a:solidFill>
                <a:schemeClr val="accent1"/>
              </a:solidFill>
            </a:endParaRPr>
          </a:p>
        </p:txBody>
      </p:sp>
    </p:spTree>
    <p:extLst>
      <p:ext uri="{BB962C8B-B14F-4D97-AF65-F5344CB8AC3E}">
        <p14:creationId xmlns:p14="http://schemas.microsoft.com/office/powerpoint/2010/main" val="29817639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a:bodyPr>
          <a:lstStyle/>
          <a:p>
            <a:r>
              <a:rPr lang="en-US" sz="2400" dirty="0">
                <a:latin typeface="Ubuntu" panose="020B0604020202020204" charset="0"/>
              </a:rPr>
              <a:t>The following applies both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set__</a:t>
            </a:r>
            <a:r>
              <a:rPr lang="en-US" sz="2400" dirty="0">
                <a:latin typeface="Ubuntu" panose="020B0604020202020204" charset="0"/>
              </a:rPr>
              <a:t>, that method is called. Otherwise </a:t>
            </a:r>
            <a:r>
              <a:rPr lang="en-US" sz="2400" dirty="0">
                <a:latin typeface="Consolas" panose="020B0609020204030204" pitchFamily="49" charset="0"/>
              </a:rPr>
              <a:t>x</a:t>
            </a:r>
            <a:r>
              <a:rPr lang="en-US" sz="2400" dirty="0">
                <a:latin typeface="Ubuntu" panose="020B0604020202020204" charset="0"/>
              </a:rPr>
              <a:t> is assigned in </a:t>
            </a:r>
            <a:r>
              <a:rPr lang="en-US" sz="2400" b="1" dirty="0">
                <a:latin typeface="Consolas" panose="020B0609020204030204" pitchFamily="49" charset="0"/>
              </a:rPr>
              <a:t>a</a:t>
            </a:r>
            <a:r>
              <a:rPr lang="en-US" sz="2400" dirty="0">
                <a:latin typeface="Ubuntu" panose="020B0604020202020204" charset="0"/>
              </a:rPr>
              <a:t>'s local namespace.</a:t>
            </a:r>
          </a:p>
          <a:p>
            <a:endParaRPr lang="en-US" sz="2400" b="1" dirty="0">
              <a:latin typeface="Consolas" panose="020B0609020204030204" pitchFamily="49" charset="0"/>
            </a:endParaRPr>
          </a:p>
          <a:p>
            <a:r>
              <a:rPr lang="en-US" sz="2400" b="1" dirty="0">
                <a:latin typeface="Consolas" panose="020B0609020204030204" pitchFamily="49" charset="0"/>
              </a:rPr>
              <a:t>absent = object()</a:t>
            </a:r>
          </a:p>
          <a:p>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r>
              <a:rPr lang="en-US" sz="2400" b="1" dirty="0" err="1">
                <a:latin typeface="Consolas" panose="020B0609020204030204" pitchFamily="49" charset="0"/>
              </a:rPr>
              <a:t>s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absent)</a:t>
            </a:r>
          </a:p>
          <a:p>
            <a:r>
              <a:rPr lang="en-US" sz="2400" b="1" dirty="0">
                <a:latin typeface="Consolas" panose="020B0609020204030204" pitchFamily="49" charset="0"/>
              </a:rPr>
              <a:t>if </a:t>
            </a:r>
            <a:r>
              <a:rPr lang="en-US" sz="2400" b="1" dirty="0" err="1">
                <a:latin typeface="Consolas" panose="020B0609020204030204" pitchFamily="49" charset="0"/>
              </a:rPr>
              <a:t>set_method</a:t>
            </a:r>
            <a:r>
              <a:rPr lang="en-US" sz="2400" b="1" dirty="0">
                <a:latin typeface="Consolas" panose="020B0609020204030204" pitchFamily="49" charset="0"/>
              </a:rPr>
              <a:t> is not absent:</a:t>
            </a:r>
          </a:p>
          <a:p>
            <a:r>
              <a:rPr lang="en-US" sz="2400" b="1" dirty="0">
                <a:latin typeface="Consolas" panose="020B0609020204030204" pitchFamily="49" charset="0"/>
              </a:rPr>
              <a:t>    </a:t>
            </a:r>
            <a:r>
              <a:rPr lang="en-US" sz="2400" b="1" dirty="0" err="1">
                <a:latin typeface="Consolas" panose="020B0609020204030204" pitchFamily="49" charset="0"/>
              </a:rPr>
              <a:t>set_method</a:t>
            </a:r>
            <a:r>
              <a:rPr lang="en-US" sz="2400" b="1" dirty="0">
                <a:latin typeface="Consolas" panose="020B0609020204030204" pitchFamily="49" charset="0"/>
              </a:rPr>
              <a:t>(a, v)</a:t>
            </a:r>
          </a:p>
          <a:p>
            <a:r>
              <a:rPr lang="en-US" sz="2400" b="1" dirty="0">
                <a:latin typeface="Consolas" panose="020B0609020204030204" pitchFamily="49" charset="0"/>
              </a:rPr>
              <a:t>else:</a:t>
            </a:r>
          </a:p>
          <a:p>
            <a:r>
              <a:rPr lang="en-US" sz="2400" b="1" dirty="0">
                <a:latin typeface="Consolas" panose="020B0609020204030204" pitchFamily="49" charset="0"/>
              </a:rPr>
              <a:t>    a.__</a:t>
            </a:r>
            <a:r>
              <a:rPr lang="en-US" sz="2400" b="1" dirty="0" err="1">
                <a:latin typeface="Consolas" panose="020B0609020204030204" pitchFamily="49" charset="0"/>
              </a:rPr>
              <a:t>dict</a:t>
            </a:r>
            <a:r>
              <a:rPr lang="en-US" sz="2400" b="1" dirty="0">
                <a:latin typeface="Consolas" panose="020B0609020204030204" pitchFamily="49" charset="0"/>
              </a:rPr>
              <a:t>__["x"] = v</a:t>
            </a:r>
          </a:p>
          <a:p>
            <a:r>
              <a:rPr lang="en-US" sz="2400" b="1" dirty="0">
                <a:latin typeface="Consolas" panose="020B0609020204030204" pitchFamily="49" charset="0"/>
              </a:rPr>
              <a:t>    </a:t>
            </a:r>
          </a:p>
          <a:p>
            <a:pPr marL="342900" indent="-342900">
              <a:buFont typeface="Arial" panose="020B0604020202020204" pitchFamily="34" charset="0"/>
              <a:buChar char="•"/>
            </a:pPr>
            <a:endParaRPr lang="en-US" sz="2400" dirty="0">
              <a:latin typeface="+mn-lt"/>
            </a:endParaRP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setting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r>
              <a:rPr lang="nl-NL" sz="3000" cap="none" dirty="0">
                <a:solidFill>
                  <a:schemeClr val="accent1"/>
                </a:solidFill>
              </a:rPr>
              <a:t> = v</a:t>
            </a:r>
            <a:endParaRPr lang="en-US" sz="3000" cap="none" dirty="0">
              <a:solidFill>
                <a:schemeClr val="accent1"/>
              </a:solidFill>
            </a:endParaRPr>
          </a:p>
        </p:txBody>
      </p:sp>
    </p:spTree>
    <p:extLst>
      <p:ext uri="{BB962C8B-B14F-4D97-AF65-F5344CB8AC3E}">
        <p14:creationId xmlns:p14="http://schemas.microsoft.com/office/powerpoint/2010/main" val="38920178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Recap Object hierarchy and attribute lookup</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2623225208"/>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85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delete__</a:t>
            </a:r>
            <a:r>
              <a:rPr lang="en-US" sz="2400" dirty="0">
                <a:latin typeface="Ubuntu" panose="020B0604020202020204" charset="0"/>
              </a:rPr>
              <a:t>, that method is called. Otherwise </a:t>
            </a:r>
            <a:r>
              <a:rPr lang="en-US" sz="2400" b="1" dirty="0">
                <a:latin typeface="Consolas" panose="020B0609020204030204" pitchFamily="49" charset="0"/>
              </a:rPr>
              <a:t>x</a:t>
            </a:r>
            <a:r>
              <a:rPr lang="en-US" sz="2400" dirty="0">
                <a:latin typeface="Ubuntu" panose="020B0604020202020204" charset="0"/>
              </a:rPr>
              <a:t> is deleted in </a:t>
            </a:r>
            <a:r>
              <a:rPr lang="en-US" sz="2400" b="1" dirty="0">
                <a:latin typeface="Consolas" panose="020B0609020204030204" pitchFamily="49" charset="0"/>
              </a:rPr>
              <a:t>a</a:t>
            </a:r>
            <a:r>
              <a:rPr lang="en-US" sz="2400" dirty="0">
                <a:latin typeface="Ubuntu" panose="020B0604020202020204" charset="0"/>
              </a:rPr>
              <a:t>'s local namespace. An </a:t>
            </a:r>
            <a:r>
              <a:rPr lang="en-US" sz="2400" b="1" dirty="0" err="1">
                <a:latin typeface="Consolas" panose="020B0609020204030204" pitchFamily="49" charset="0"/>
              </a:rPr>
              <a:t>AttibuteError</a:t>
            </a:r>
            <a:r>
              <a:rPr lang="en-US" sz="2400" dirty="0">
                <a:latin typeface="Ubuntu" panose="020B0604020202020204" charset="0"/>
              </a:rPr>
              <a:t> is raised if the attribute </a:t>
            </a:r>
            <a:r>
              <a:rPr lang="en-US" sz="2400" b="1" dirty="0">
                <a:latin typeface="Consolas" panose="020B0609020204030204" pitchFamily="49" charset="0"/>
              </a:rPr>
              <a:t>x</a:t>
            </a:r>
            <a:r>
              <a:rPr lang="en-US" sz="2400" dirty="0">
                <a:latin typeface="Ubuntu" panose="020B0604020202020204" charset="0"/>
              </a:rPr>
              <a:t> does not exist.</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del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del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a:t>
            </a:r>
            <a:r>
              <a:rPr lang="en-US" sz="2400" b="1" dirty="0" err="1">
                <a:latin typeface="Consolas" panose="020B0609020204030204" pitchFamily="49" charset="0"/>
              </a:rPr>
              <a:t>del_method</a:t>
            </a:r>
            <a:r>
              <a:rPr lang="en-US" sz="2400" b="1" dirty="0">
                <a:latin typeface="Consolas" panose="020B0609020204030204" pitchFamily="49" charset="0"/>
              </a:rPr>
              <a:t>(a)</a:t>
            </a:r>
          </a:p>
          <a:p>
            <a:pPr>
              <a:lnSpc>
                <a:spcPct val="100000"/>
              </a:lnSpc>
            </a:pPr>
            <a:r>
              <a:rPr lang="en-US" sz="2400" b="1" dirty="0">
                <a:latin typeface="Consolas" panose="020B0609020204030204" pitchFamily="49" charset="0"/>
              </a:rPr>
              <a:t>else:</a:t>
            </a:r>
          </a:p>
          <a:p>
            <a:pPr>
              <a:lnSpc>
                <a:spcPct val="100000"/>
              </a:lnSpc>
            </a:pPr>
            <a:r>
              <a:rPr lang="en-US" sz="2400" b="1" dirty="0">
                <a:latin typeface="Consolas" panose="020B0609020204030204" pitchFamily="49" charset="0"/>
              </a:rPr>
              <a:t>    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del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    else:</a:t>
            </a:r>
          </a:p>
          <a:p>
            <a:pPr>
              <a:lnSpc>
                <a:spcPct val="100000"/>
              </a:lnSpc>
            </a:pPr>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dele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del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18261111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When the name </a:t>
            </a:r>
            <a:r>
              <a:rPr lang="en-US" sz="2400" b="1" dirty="0">
                <a:latin typeface="Consolas" panose="020B0609020204030204" pitchFamily="49" charset="0"/>
              </a:rPr>
              <a:t>x</a:t>
            </a:r>
            <a:r>
              <a:rPr lang="en-US" sz="2400" dirty="0">
                <a:latin typeface="Ubuntu" panose="020B0604020202020204" charset="0"/>
              </a:rPr>
              <a:t> is found in the MRO, and it is a data descriptor with a </a:t>
            </a:r>
            <a:r>
              <a:rPr lang="en-US" sz="2400" b="1" dirty="0">
                <a:latin typeface="Consolas" panose="020B0609020204030204" pitchFamily="49" charset="0"/>
              </a:rPr>
              <a:t>__get__</a:t>
            </a:r>
            <a:r>
              <a:rPr lang="en-US" sz="2400" dirty="0">
                <a:latin typeface="Ubuntu" panose="020B0604020202020204" charset="0"/>
              </a:rPr>
              <a:t> method, that method is called. If it is a non-data descriptor, the </a:t>
            </a:r>
            <a:r>
              <a:rPr lang="en-US" sz="2400" b="1" dirty="0">
                <a:latin typeface="Consolas" panose="020B0609020204030204" pitchFamily="49" charset="0"/>
              </a:rPr>
              <a:t>__get__</a:t>
            </a:r>
            <a:r>
              <a:rPr lang="en-US" sz="2400" dirty="0">
                <a:latin typeface="Ubuntu" panose="020B0604020202020204" charset="0"/>
              </a:rPr>
              <a:t> method is only called when </a:t>
            </a:r>
            <a:r>
              <a:rPr lang="en-US" sz="2400" b="1" dirty="0">
                <a:latin typeface="Consolas" panose="020B0609020204030204" pitchFamily="49" charset="0"/>
              </a:rPr>
              <a:t>x</a:t>
            </a:r>
            <a:r>
              <a:rPr lang="en-US" sz="2400" dirty="0">
                <a:latin typeface="Ubuntu" panose="020B0604020202020204" charset="0"/>
              </a:rPr>
              <a:t> is not in </a:t>
            </a:r>
            <a:r>
              <a:rPr lang="en-US" sz="2400" b="1" dirty="0">
                <a:latin typeface="Consolas" panose="020B0609020204030204" pitchFamily="49" charset="0"/>
              </a:rPr>
              <a:t>a</a:t>
            </a:r>
            <a:r>
              <a:rPr lang="en-US" sz="2400" dirty="0">
                <a:latin typeface="Ubuntu" panose="020B0604020202020204" charset="0"/>
              </a:rPr>
              <a:t>'s local namespace.</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return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ro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ro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38626775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 class.</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eta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err="1">
                <a:latin typeface="Consolas" panose="020B0609020204030204" pitchFamily="49" charset="0"/>
              </a:rPr>
              <a:t>cls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A, "x",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cls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cls_var.__get</a:t>
            </a:r>
            <a:r>
              <a:rPr lang="en-US" sz="2400" b="1" dirty="0">
                <a:latin typeface="Consolas" panose="020B0609020204030204" pitchFamily="49" charset="0"/>
              </a:rPr>
              <a:t>__(None, type(A)) if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cls_var</a:t>
            </a:r>
            <a:r>
              <a:rPr lang="en-US" sz="2400" b="1" dirty="0">
                <a:latin typeface="Consolas" panose="020B0609020204030204" pitchFamily="49" charset="0"/>
              </a:rPr>
              <a:t>, "__get__") else </a:t>
            </a:r>
            <a:r>
              <a:rPr lang="en-US" sz="2400" b="1" dirty="0" err="1">
                <a:latin typeface="Consolas" panose="020B0609020204030204" pitchFamily="49" charset="0"/>
              </a:rPr>
              <a:t>cls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eta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eta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a:t>
            </a:r>
            <a:r>
              <a:rPr lang="en-US" sz="2400" b="1" dirty="0" err="1">
                <a:latin typeface="Consolas" panose="020B0609020204030204" pitchFamily="49" charset="0"/>
              </a:rPr>
              <a:t>f"type</a:t>
            </a:r>
            <a:r>
              <a:rPr lang="en-US" sz="2400" b="1" dirty="0">
                <a:latin typeface="Consolas" panose="020B0609020204030204" pitchFamily="49" charset="0"/>
              </a:rPr>
              <a:t> object '{type(a)}'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class </a:t>
            </a:r>
            <a:r>
              <a:rPr lang="nl-NL" sz="3000" cap="none" dirty="0" err="1">
                <a:solidFill>
                  <a:schemeClr val="accent1"/>
                </a:solidFill>
              </a:rPr>
              <a:t>attribute</a:t>
            </a:r>
            <a:r>
              <a:rPr lang="nl-NL" sz="3000" cap="none" dirty="0">
                <a:solidFill>
                  <a:schemeClr val="accent1"/>
                </a:solidFill>
              </a:rPr>
              <a:t>: </a:t>
            </a:r>
            <a:r>
              <a:rPr lang="nl-NL" dirty="0" err="1"/>
              <a:t>A</a:t>
            </a:r>
            <a:r>
              <a:rPr lang="nl-NL" sz="3000" cap="none" dirty="0" err="1">
                <a:solidFill>
                  <a:schemeClr val="accent1"/>
                </a:solidFill>
              </a:rPr>
              <a:t>.x</a:t>
            </a:r>
            <a:endParaRPr lang="en-US" sz="3000" cap="none" dirty="0">
              <a:solidFill>
                <a:schemeClr val="accent1"/>
              </a:solidFill>
            </a:endParaRPr>
          </a:p>
        </p:txBody>
      </p:sp>
    </p:spTree>
    <p:extLst>
      <p:ext uri="{BB962C8B-B14F-4D97-AF65-F5344CB8AC3E}">
        <p14:creationId xmlns:p14="http://schemas.microsoft.com/office/powerpoint/2010/main" val="37304469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en-US" sz="2800" dirty="0"/>
              <a:t>When evaluating </a:t>
            </a:r>
            <a:r>
              <a:rPr lang="en-US" sz="2800" b="1" dirty="0">
                <a:latin typeface="Consolas" panose="020B0609020204030204" pitchFamily="49" charset="0"/>
              </a:rPr>
              <a:t>super(B, a).x</a:t>
            </a:r>
            <a:r>
              <a:rPr lang="en-US" sz="2800" dirty="0"/>
              <a:t>, the following happens:</a:t>
            </a:r>
          </a:p>
          <a:p>
            <a:endParaRPr lang="en-US" sz="2400" dirty="0"/>
          </a:p>
          <a:p>
            <a:pPr lvl="1" indent="0">
              <a:buNone/>
            </a:pPr>
            <a:r>
              <a:rPr lang="en-US" sz="2200" b="1" dirty="0">
                <a:latin typeface="Consolas" panose="020B0609020204030204" pitchFamily="49" charset="0"/>
              </a:rPr>
              <a:t>absent = object()</a:t>
            </a:r>
          </a:p>
          <a:p>
            <a:pPr lvl="1" indent="0">
              <a:buNone/>
            </a:pPr>
            <a:r>
              <a:rPr lang="en-US" sz="2200" b="1" dirty="0">
                <a:latin typeface="Consolas" panose="020B0609020204030204" pitchFamily="49" charset="0"/>
              </a:rPr>
              <a:t>x = </a:t>
            </a:r>
            <a:r>
              <a:rPr lang="en-US" sz="2200" b="1" dirty="0" err="1">
                <a:latin typeface="Consolas" panose="020B0609020204030204" pitchFamily="49" charset="0"/>
              </a:rPr>
              <a:t>find_name_in_mro</a:t>
            </a:r>
            <a:r>
              <a:rPr lang="en-US" sz="2200" b="1" dirty="0">
                <a:latin typeface="Consolas" panose="020B0609020204030204" pitchFamily="49" charset="0"/>
              </a:rPr>
              <a:t>(type(a), "x", absent, </a:t>
            </a:r>
            <a:r>
              <a:rPr lang="en-US" sz="2200" b="1" dirty="0" err="1">
                <a:latin typeface="Consolas" panose="020B0609020204030204" pitchFamily="49" charset="0"/>
              </a:rPr>
              <a:t>start_after</a:t>
            </a:r>
            <a:r>
              <a:rPr lang="en-US" sz="2200" b="1" dirty="0">
                <a:latin typeface="Consolas" panose="020B0609020204030204" pitchFamily="49" charset="0"/>
              </a:rPr>
              <a:t>=B)</a:t>
            </a:r>
          </a:p>
          <a:p>
            <a:pPr lvl="1" indent="0">
              <a:buNone/>
            </a:pPr>
            <a:r>
              <a:rPr lang="en-US" sz="2200" b="1" dirty="0">
                <a:latin typeface="Consolas" panose="020B0609020204030204" pitchFamily="49" charset="0"/>
              </a:rPr>
              <a:t>if x is not absent:</a:t>
            </a:r>
          </a:p>
          <a:p>
            <a:pPr lvl="1" indent="0">
              <a:buNone/>
            </a:pPr>
            <a:r>
              <a:rPr lang="en-US" sz="2200" b="1" dirty="0">
                <a:latin typeface="Consolas" panose="020B0609020204030204" pitchFamily="49" charset="0"/>
              </a:rPr>
              <a:t>    return </a:t>
            </a:r>
            <a:r>
              <a:rPr lang="en-US" sz="2200" b="1" dirty="0" err="1">
                <a:latin typeface="Consolas" panose="020B0609020204030204" pitchFamily="49" charset="0"/>
              </a:rPr>
              <a:t>x.__get</a:t>
            </a:r>
            <a:r>
              <a:rPr lang="en-US" sz="2200" b="1" dirty="0">
                <a:latin typeface="Consolas" panose="020B0609020204030204" pitchFamily="49" charset="0"/>
              </a:rPr>
              <a:t>__(a, type(a)) if </a:t>
            </a:r>
            <a:r>
              <a:rPr lang="en-US" sz="2200" b="1" dirty="0" err="1">
                <a:latin typeface="Consolas" panose="020B0609020204030204" pitchFamily="49" charset="0"/>
              </a:rPr>
              <a:t>hasattr</a:t>
            </a:r>
            <a:r>
              <a:rPr lang="en-US" sz="2200" b="1" dirty="0">
                <a:latin typeface="Consolas" panose="020B0609020204030204" pitchFamily="49" charset="0"/>
              </a:rPr>
              <a:t>(x, "__get__") else x</a:t>
            </a:r>
          </a:p>
          <a:p>
            <a:pPr lvl="1" indent="0">
              <a:buNone/>
            </a:pPr>
            <a:r>
              <a:rPr lang="en-US" sz="2200" b="1" dirty="0">
                <a:latin typeface="Consolas" panose="020B0609020204030204" pitchFamily="49" charset="0"/>
              </a:rPr>
              <a:t>raise </a:t>
            </a:r>
            <a:r>
              <a:rPr lang="en-US" sz="2200" b="1" dirty="0" err="1">
                <a:latin typeface="Consolas" panose="020B0609020204030204" pitchFamily="49" charset="0"/>
              </a:rPr>
              <a:t>AttributeError</a:t>
            </a:r>
            <a:r>
              <a:rPr lang="en-US" sz="2200" b="1" dirty="0">
                <a:latin typeface="Consolas" panose="020B0609020204030204" pitchFamily="49" charset="0"/>
              </a:rPr>
              <a:t>("'super' object has no attribute 'x'")</a:t>
            </a:r>
          </a:p>
          <a:p>
            <a:pPr marL="361950" lvl="3" indent="0">
              <a:lnSpc>
                <a:spcPct val="110000"/>
              </a:lnSpc>
              <a:buNone/>
            </a:pPr>
            <a:endParaRPr lang="nl-NL" sz="24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a:t>
            </a:r>
            <a:r>
              <a:rPr lang="nl-NL" sz="3000" cap="none" dirty="0" err="1">
                <a:solidFill>
                  <a:schemeClr val="accent1"/>
                </a:solidFill>
              </a:rPr>
              <a:t>from</a:t>
            </a:r>
            <a:r>
              <a:rPr lang="nl-NL" sz="3000" cap="none" dirty="0">
                <a:solidFill>
                  <a:schemeClr val="accent1"/>
                </a:solidFill>
              </a:rPr>
              <a:t> super()</a:t>
            </a:r>
            <a:endParaRPr lang="en-US" sz="3000" cap="none" dirty="0">
              <a:solidFill>
                <a:schemeClr val="accent1"/>
              </a:solidFill>
            </a:endParaRPr>
          </a:p>
        </p:txBody>
      </p:sp>
    </p:spTree>
    <p:extLst>
      <p:ext uri="{BB962C8B-B14F-4D97-AF65-F5344CB8AC3E}">
        <p14:creationId xmlns:p14="http://schemas.microsoft.com/office/powerpoint/2010/main" val="19650491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Bonus: __</a:t>
            </a:r>
            <a:r>
              <a:rPr lang="en-US" dirty="0" err="1"/>
              <a:t>set_name</a:t>
            </a:r>
            <a:r>
              <a:rPr lang="en-US" dirty="0"/>
              <a:t>__</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5152644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nl-NL" sz="2400" dirty="0" err="1"/>
              <a:t>When</a:t>
            </a:r>
            <a:r>
              <a:rPr lang="nl-NL" sz="2400" dirty="0"/>
              <a:t> a class </a:t>
            </a:r>
            <a:r>
              <a:rPr lang="nl-NL" sz="2400" dirty="0" err="1"/>
              <a:t>defines</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r>
              <a:rPr lang="nl-NL" sz="2400" dirty="0"/>
              <a:t>, </a:t>
            </a:r>
            <a:r>
              <a:rPr lang="nl-NL" sz="2400" dirty="0" err="1"/>
              <a:t>and</a:t>
            </a:r>
            <a:r>
              <a:rPr lang="nl-NL" sz="2400" dirty="0"/>
              <a:t> </a:t>
            </a:r>
            <a:r>
              <a:rPr lang="nl-NL" sz="2400" dirty="0" err="1"/>
              <a:t>it</a:t>
            </a:r>
            <a:r>
              <a:rPr lang="nl-NL" sz="2400" dirty="0"/>
              <a:t> is </a:t>
            </a:r>
            <a:r>
              <a:rPr lang="nl-NL" sz="2400" dirty="0" err="1"/>
              <a:t>assigned</a:t>
            </a:r>
            <a:r>
              <a:rPr lang="nl-NL" sz="2400" dirty="0"/>
              <a:t> as </a:t>
            </a:r>
            <a:r>
              <a:rPr lang="nl-NL" sz="2400" dirty="0" err="1"/>
              <a:t>an</a:t>
            </a:r>
            <a:r>
              <a:rPr lang="nl-NL" sz="2400" dirty="0"/>
              <a:t> </a:t>
            </a:r>
            <a:r>
              <a:rPr lang="nl-NL" sz="2400" dirty="0" err="1"/>
              <a:t>attribute</a:t>
            </a:r>
            <a:r>
              <a:rPr lang="nl-NL" sz="2400" dirty="0"/>
              <a:t> </a:t>
            </a:r>
            <a:r>
              <a:rPr lang="nl-NL" sz="2400" dirty="0" err="1"/>
              <a:t>to</a:t>
            </a:r>
            <a:r>
              <a:rPr lang="nl-NL" sz="2400" dirty="0"/>
              <a:t> a class, </a:t>
            </a:r>
            <a:r>
              <a:rPr lang="nl-NL" sz="2400" dirty="0" err="1"/>
              <a:t>that</a:t>
            </a:r>
            <a:r>
              <a:rPr lang="nl-NL" sz="2400" dirty="0"/>
              <a:t> </a:t>
            </a:r>
            <a:r>
              <a:rPr lang="nl-NL" sz="2400" dirty="0" err="1"/>
              <a:t>method</a:t>
            </a:r>
            <a:r>
              <a:rPr lang="nl-NL" sz="2400" dirty="0"/>
              <a:t> is </a:t>
            </a:r>
            <a:r>
              <a:rPr lang="nl-NL" sz="2400" dirty="0" err="1"/>
              <a:t>called</a:t>
            </a:r>
            <a:r>
              <a:rPr lang="nl-NL" sz="2400" dirty="0"/>
              <a:t> </a:t>
            </a:r>
            <a:r>
              <a:rPr lang="nl-NL" sz="2400" dirty="0" err="1"/>
              <a:t>during</a:t>
            </a:r>
            <a:r>
              <a:rPr lang="nl-NL" sz="2400" dirty="0"/>
              <a:t> class </a:t>
            </a:r>
            <a:r>
              <a:rPr lang="nl-NL" sz="2400" dirty="0" err="1"/>
              <a:t>creation</a:t>
            </a:r>
            <a:r>
              <a:rPr lang="nl-NL" sz="2400" dirty="0"/>
              <a:t>.</a:t>
            </a:r>
          </a:p>
          <a:p>
            <a:pPr marL="342900" indent="-342900">
              <a:buFont typeface="Arial" panose="020B0604020202020204" pitchFamily="34" charset="0"/>
              <a:buChar char="•"/>
            </a:pPr>
            <a:r>
              <a:rPr lang="nl-NL" sz="2400" dirty="0" err="1"/>
              <a:t>This</a:t>
            </a:r>
            <a:r>
              <a:rPr lang="nl-NL" sz="2400" dirty="0"/>
              <a:t> is </a:t>
            </a:r>
            <a:r>
              <a:rPr lang="nl-NL" sz="2400" dirty="0" err="1"/>
              <a:t>especially</a:t>
            </a:r>
            <a:r>
              <a:rPr lang="nl-NL" sz="2400" dirty="0"/>
              <a:t> </a:t>
            </a:r>
            <a:r>
              <a:rPr lang="nl-NL" sz="2400" dirty="0" err="1"/>
              <a:t>useful</a:t>
            </a:r>
            <a:r>
              <a:rPr lang="nl-NL" sz="2400" dirty="0"/>
              <a:t> </a:t>
            </a:r>
            <a:r>
              <a:rPr lang="nl-NL" sz="2400" dirty="0" err="1"/>
              <a:t>for</a:t>
            </a:r>
            <a:r>
              <a:rPr lang="nl-NL" sz="2400" dirty="0"/>
              <a:t> </a:t>
            </a:r>
            <a:r>
              <a:rPr lang="nl-NL" sz="2400" dirty="0" err="1"/>
              <a:t>descriptors</a:t>
            </a:r>
            <a:r>
              <a:rPr lang="nl-NL" sz="2400" dirty="0"/>
              <a:t> </a:t>
            </a:r>
            <a:r>
              <a:rPr lang="nl-NL" sz="2400" dirty="0" err="1"/>
              <a:t>that</a:t>
            </a:r>
            <a:r>
              <a:rPr lang="nl-NL" sz="2400" dirty="0"/>
              <a:t> </a:t>
            </a:r>
            <a:r>
              <a:rPr lang="nl-NL" sz="2400" dirty="0" err="1"/>
              <a:t>need</a:t>
            </a:r>
            <a:r>
              <a:rPr lang="nl-NL" sz="2400" dirty="0"/>
              <a:t> </a:t>
            </a:r>
            <a:r>
              <a:rPr lang="nl-NL" sz="2400" dirty="0" err="1"/>
              <a:t>to</a:t>
            </a:r>
            <a:r>
              <a:rPr lang="nl-NL" sz="2400" dirty="0"/>
              <a:t> </a:t>
            </a:r>
            <a:r>
              <a:rPr lang="nl-NL" sz="2400" dirty="0" err="1"/>
              <a:t>know</a:t>
            </a:r>
            <a:r>
              <a:rPr lang="nl-NL" sz="2400" dirty="0"/>
              <a:t> </a:t>
            </a:r>
            <a:r>
              <a:rPr lang="nl-NL" sz="2400" dirty="0" err="1"/>
              <a:t>the</a:t>
            </a:r>
            <a:r>
              <a:rPr lang="nl-NL" sz="2400" dirty="0"/>
              <a:t> </a:t>
            </a:r>
            <a:r>
              <a:rPr lang="nl-NL" sz="2400" dirty="0" err="1"/>
              <a:t>attribute</a:t>
            </a:r>
            <a:r>
              <a:rPr lang="nl-NL" sz="2400" dirty="0"/>
              <a:t> name </a:t>
            </a:r>
            <a:r>
              <a:rPr lang="nl-NL" sz="2400" dirty="0" err="1"/>
              <a:t>they</a:t>
            </a:r>
            <a:r>
              <a:rPr lang="nl-NL" sz="2400" dirty="0"/>
              <a:t> have been </a:t>
            </a:r>
            <a:r>
              <a:rPr lang="nl-NL" sz="2400" dirty="0" err="1"/>
              <a:t>assigned</a:t>
            </a:r>
            <a:r>
              <a:rPr lang="nl-NL" sz="2400" dirty="0"/>
              <a:t> </a:t>
            </a:r>
            <a:r>
              <a:rPr lang="nl-NL" sz="2400" dirty="0" err="1"/>
              <a:t>to</a:t>
            </a:r>
            <a:r>
              <a:rPr lang="nl-NL" sz="2400" dirty="0"/>
              <a:t>.</a:t>
            </a:r>
          </a:p>
          <a:p>
            <a:pPr marL="609600" lvl="1" indent="-342900">
              <a:buFont typeface="Arial" panose="020B0604020202020204" pitchFamily="34" charset="0"/>
              <a:buChar char="•"/>
            </a:pPr>
            <a:r>
              <a:rPr lang="nl-NL" sz="2200" dirty="0"/>
              <a:t>E.g. </a:t>
            </a:r>
            <a:r>
              <a:rPr lang="nl-NL" sz="2200" dirty="0" err="1"/>
              <a:t>to</a:t>
            </a:r>
            <a:r>
              <a:rPr lang="nl-NL" sz="2200" dirty="0"/>
              <a:t> store a </a:t>
            </a:r>
            <a:r>
              <a:rPr lang="nl-NL" sz="2200" dirty="0" err="1"/>
              <a:t>value</a:t>
            </a:r>
            <a:r>
              <a:rPr lang="nl-NL" sz="2200" dirty="0"/>
              <a:t> in </a:t>
            </a:r>
            <a:r>
              <a:rPr lang="nl-NL" sz="2200" dirty="0" err="1"/>
              <a:t>the</a:t>
            </a:r>
            <a:r>
              <a:rPr lang="nl-NL" sz="2200" dirty="0"/>
              <a:t> </a:t>
            </a:r>
            <a:r>
              <a:rPr lang="nl-NL" sz="2200" dirty="0" err="1"/>
              <a:t>instance</a:t>
            </a:r>
            <a:r>
              <a:rPr lang="nl-NL" sz="2200" dirty="0"/>
              <a:t>: </a:t>
            </a:r>
          </a:p>
          <a:p>
            <a:pPr marL="609600" lvl="1" indent="-342900">
              <a:buFont typeface="Arial" panose="020B0604020202020204" pitchFamily="34" charset="0"/>
              <a:buChar char="•"/>
            </a:pPr>
            <a:endParaRPr lang="nl-NL" sz="2200" dirty="0"/>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lf.owner</a:t>
            </a:r>
            <a:r>
              <a:rPr lang="nl-NL" sz="2400" b="1" dirty="0">
                <a:latin typeface="Consolas" panose="020B0609020204030204" pitchFamily="49" charset="0"/>
              </a:rPr>
              <a:t> = </a:t>
            </a:r>
            <a:r>
              <a:rPr lang="nl-NL" sz="2400" b="1" dirty="0" err="1">
                <a:latin typeface="Consolas" panose="020B0609020204030204" pitchFamily="49" charset="0"/>
              </a:rPr>
              <a:t>owner</a:t>
            </a:r>
            <a:endParaRPr lang="nl-NL" sz="2400" b="1" dirty="0">
              <a:latin typeface="Consolas" panose="020B0609020204030204" pitchFamily="49" charset="0"/>
            </a:endParaRPr>
          </a:p>
          <a:p>
            <a:pPr lvl="4" indent="0">
              <a:buNone/>
            </a:pPr>
            <a:r>
              <a:rPr lang="nl-NL" sz="2400" b="1" dirty="0">
                <a:latin typeface="Consolas" panose="020B0609020204030204" pitchFamily="49" charset="0"/>
              </a:rPr>
              <a:t>    self.name = name</a:t>
            </a:r>
          </a:p>
          <a:p>
            <a:pPr lvl="4" indent="0">
              <a:buNone/>
            </a:pPr>
            <a:endParaRPr lang="nl-NL" sz="2400" b="1" dirty="0">
              <a:latin typeface="Consolas" panose="020B0609020204030204" pitchFamily="49" charset="0"/>
            </a:endParaRPr>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tattr</a:t>
            </a:r>
            <a:r>
              <a:rPr lang="nl-NL" sz="2400" b="1" dirty="0">
                <a:latin typeface="Consolas" panose="020B0609020204030204" pitchFamily="49" charset="0"/>
              </a:rPr>
              <a:t>(</a:t>
            </a:r>
            <a:r>
              <a:rPr lang="nl-NL" sz="2400" b="1" dirty="0" err="1">
                <a:latin typeface="Consolas" panose="020B0609020204030204" pitchFamily="49" charset="0"/>
              </a:rPr>
              <a:t>instance</a:t>
            </a:r>
            <a:r>
              <a:rPr lang="nl-NL" sz="2400" b="1" dirty="0">
                <a:latin typeface="Consolas" panose="020B0609020204030204" pitchFamily="49" charset="0"/>
              </a:rPr>
              <a:t>, "_" + self.name, </a:t>
            </a:r>
            <a:r>
              <a:rPr lang="nl-NL" sz="2400" b="1" dirty="0" err="1">
                <a:latin typeface="Consolas" panose="020B0609020204030204" pitchFamily="49" charset="0"/>
              </a:rPr>
              <a:t>value</a:t>
            </a:r>
            <a:r>
              <a:rPr lang="nl-NL" sz="2400" b="1" dirty="0">
                <a:latin typeface="Consolas" panose="020B0609020204030204" pitchFamily="49" charset="0"/>
              </a:rPr>
              <a:t>)</a:t>
            </a:r>
          </a:p>
          <a:p>
            <a:endParaRPr lang="nl-NL" sz="2400" dirty="0"/>
          </a:p>
        </p:txBody>
      </p:sp>
      <p:sp>
        <p:nvSpPr>
          <p:cNvPr id="2" name="Title 1"/>
          <p:cNvSpPr>
            <a:spLocks noGrp="1"/>
          </p:cNvSpPr>
          <p:nvPr>
            <p:ph type="title"/>
          </p:nvPr>
        </p:nvSpPr>
        <p:spPr/>
        <p:txBody>
          <a:bodyPr/>
          <a:lstStyle/>
          <a:p>
            <a:r>
              <a:rPr lang="nl-NL" dirty="0"/>
              <a:t>Special </a:t>
            </a:r>
            <a:r>
              <a:rPr lang="nl-NL" dirty="0" err="1"/>
              <a:t>method</a:t>
            </a:r>
            <a:r>
              <a:rPr lang="nl-NL" dirty="0"/>
              <a:t> </a:t>
            </a:r>
            <a:r>
              <a:rPr lang="nl-NL" dirty="0">
                <a:latin typeface="Consolas" panose="020B0609020204030204" pitchFamily="49" charset="0"/>
              </a:rPr>
              <a:t>__</a:t>
            </a:r>
            <a:r>
              <a:rPr lang="nl-NL" dirty="0" err="1">
                <a:latin typeface="Consolas" panose="020B0609020204030204" pitchFamily="49" charset="0"/>
              </a:rPr>
              <a:t>set_name</a:t>
            </a:r>
            <a:r>
              <a:rPr lang="nl-NL" dirty="0">
                <a:latin typeface="Consolas" panose="020B0609020204030204" pitchFamily="49" charset="0"/>
              </a:rPr>
              <a: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13489034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ropertie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4193543530"/>
      </p:ext>
    </p:extLst>
  </p:cSld>
  <p:clrMapOvr>
    <a:masterClrMapping/>
  </p:clrMapOvr>
  <p:transition spd="slow">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allon: rechthoek 3">
            <a:extLst>
              <a:ext uri="{FF2B5EF4-FFF2-40B4-BE49-F238E27FC236}">
                <a16:creationId xmlns:a16="http://schemas.microsoft.com/office/drawing/2014/main" id="{92075952-EEFE-4E4F-B587-73557783ADC1}"/>
              </a:ext>
            </a:extLst>
          </p:cNvPr>
          <p:cNvSpPr/>
          <p:nvPr/>
        </p:nvSpPr>
        <p:spPr>
          <a:xfrm>
            <a:off x="191344" y="4437113"/>
            <a:ext cx="2160240" cy="360040"/>
          </a:xfrm>
          <a:prstGeom prst="wedgeRectCallout">
            <a:avLst>
              <a:gd name="adj1" fmla="val 59651"/>
              <a:gd name="adj2" fmla="val 4723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Descriptor </a:t>
            </a:r>
            <a:r>
              <a:rPr lang="nl-NL" sz="1600" dirty="0" err="1"/>
              <a:t>instance</a:t>
            </a:r>
            <a:endParaRPr lang="nl-NL" sz="1600" dirty="0"/>
          </a:p>
        </p:txBody>
      </p:sp>
      <p:sp>
        <p:nvSpPr>
          <p:cNvPr id="3" name="Text Placeholder 2"/>
          <p:cNvSpPr>
            <a:spLocks noGrp="1"/>
          </p:cNvSpPr>
          <p:nvPr>
            <p:ph type="body" sz="quarter" idx="10"/>
          </p:nvPr>
        </p:nvSpPr>
        <p:spPr/>
        <p:txBody>
          <a:bodyPr>
            <a:normAutofit lnSpcReduction="10000"/>
          </a:bodyPr>
          <a:lstStyle/>
          <a:p>
            <a:r>
              <a:rPr lang="en-US" sz="2400" dirty="0"/>
              <a:t>When you have code like:</a:t>
            </a:r>
          </a:p>
          <a:p>
            <a:endParaRPr lang="en-US" sz="2400" i="1" dirty="0"/>
          </a:p>
          <a:p>
            <a:pPr>
              <a:lnSpc>
                <a:spcPts val="2200"/>
              </a:lnSpc>
            </a:pPr>
            <a:r>
              <a:rPr lang="en-US" sz="2400" b="1" dirty="0">
                <a:latin typeface="Consolas" panose="020B0609020204030204" pitchFamily="49" charset="0"/>
              </a:rPr>
              <a:t>class A:</a:t>
            </a:r>
          </a:p>
          <a:p>
            <a:pPr>
              <a:lnSpc>
                <a:spcPts val="2200"/>
              </a:lnSpc>
            </a:pPr>
            <a:r>
              <a:rPr lang="en-US" sz="2400" b="1" dirty="0">
                <a:latin typeface="Consolas" panose="020B0609020204030204" pitchFamily="49" charset="0"/>
              </a:rPr>
              <a:t>    @property</a:t>
            </a:r>
          </a:p>
          <a:p>
            <a:pPr>
              <a:lnSpc>
                <a:spcPts val="2200"/>
              </a:lnSpc>
            </a:pPr>
            <a:r>
              <a:rPr lang="en-US" sz="2400" b="1" dirty="0">
                <a:latin typeface="Consolas" panose="020B0609020204030204" pitchFamily="49" charset="0"/>
              </a:rPr>
              <a:t>    def x(self):</a:t>
            </a:r>
          </a:p>
          <a:p>
            <a:pPr>
              <a:lnSpc>
                <a:spcPts val="2200"/>
              </a:lnSpc>
            </a:pPr>
            <a:r>
              <a:rPr lang="en-US" sz="2400" b="1" dirty="0">
                <a:latin typeface="Consolas" panose="020B0609020204030204" pitchFamily="49" charset="0"/>
              </a:rPr>
              <a:t>        return </a:t>
            </a:r>
            <a:r>
              <a:rPr lang="en-US" sz="2400" b="1" dirty="0" err="1">
                <a:latin typeface="Consolas" panose="020B0609020204030204" pitchFamily="49" charset="0"/>
              </a:rPr>
              <a:t>self._x</a:t>
            </a:r>
            <a:endParaRPr lang="en-US" sz="2400" b="1" dirty="0">
              <a:latin typeface="Consolas" panose="020B0609020204030204" pitchFamily="49" charset="0"/>
            </a:endParaRPr>
          </a:p>
          <a:p>
            <a:endParaRPr lang="nl-NL" sz="2400" dirty="0"/>
          </a:p>
          <a:p>
            <a:r>
              <a:rPr lang="nl-NL" sz="2400" dirty="0" err="1"/>
              <a:t>then</a:t>
            </a:r>
            <a:r>
              <a:rPr lang="nl-NL" sz="2400" dirty="0"/>
              <a:t> </a:t>
            </a:r>
            <a:r>
              <a:rPr lang="nl-NL" sz="2400" b="1" dirty="0">
                <a:latin typeface="Consolas" panose="020B0609020204030204" pitchFamily="49" charset="0"/>
              </a:rPr>
              <a:t>x</a:t>
            </a:r>
            <a:r>
              <a:rPr lang="nl-NL" sz="2400" dirty="0"/>
              <a:t> is </a:t>
            </a:r>
            <a:r>
              <a:rPr lang="nl-NL" sz="2400" dirty="0" err="1"/>
              <a:t>an</a:t>
            </a:r>
            <a:r>
              <a:rPr lang="nl-NL" sz="2400" dirty="0"/>
              <a:t> </a:t>
            </a:r>
            <a:r>
              <a:rPr lang="nl-NL" sz="2400" dirty="0" err="1"/>
              <a:t>instance</a:t>
            </a:r>
            <a:r>
              <a:rPr lang="nl-NL" sz="2400" dirty="0"/>
              <a:t> of a descriptor </a:t>
            </a:r>
            <a:r>
              <a:rPr lang="nl-NL" sz="2400" dirty="0" err="1"/>
              <a:t>with</a:t>
            </a:r>
            <a:r>
              <a:rPr lang="nl-NL" sz="2400" dirty="0"/>
              <a:t> a </a:t>
            </a:r>
            <a:r>
              <a:rPr lang="nl-NL" sz="2400" b="1" dirty="0">
                <a:latin typeface="Consolas" panose="020B0609020204030204" pitchFamily="49" charset="0"/>
              </a:rPr>
              <a:t>__get__</a:t>
            </a:r>
            <a:r>
              <a:rPr lang="nl-NL" sz="2400" dirty="0"/>
              <a:t> </a:t>
            </a:r>
            <a:r>
              <a:rPr lang="nl-NL" sz="2400" dirty="0" err="1"/>
              <a:t>method</a:t>
            </a:r>
            <a:r>
              <a:rPr lang="nl-NL" sz="2400" dirty="0"/>
              <a:t> </a:t>
            </a:r>
            <a:r>
              <a:rPr lang="nl-NL" sz="2400" dirty="0" err="1"/>
              <a:t>that</a:t>
            </a:r>
            <a:r>
              <a:rPr lang="nl-NL" sz="2400" dirty="0"/>
              <a:t> looks like:</a:t>
            </a:r>
          </a:p>
          <a:p>
            <a:endParaRPr lang="nl-NL" sz="2400" dirty="0"/>
          </a:p>
          <a:p>
            <a:pPr>
              <a:lnSpc>
                <a:spcPts val="2200"/>
              </a:lnSpc>
            </a:pPr>
            <a:r>
              <a:rPr lang="nl-NL" sz="2400" b="1" dirty="0" err="1">
                <a:latin typeface="Consolas" panose="020B0609020204030204" pitchFamily="49" charset="0"/>
              </a:rPr>
              <a:t>def</a:t>
            </a:r>
            <a:r>
              <a:rPr lang="nl-NL" sz="2400" b="1" dirty="0">
                <a:latin typeface="Consolas" panose="020B0609020204030204" pitchFamily="49" charset="0"/>
              </a:rPr>
              <a:t> 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bj</a:t>
            </a:r>
            <a:r>
              <a:rPr lang="nl-NL" sz="2400" b="1" dirty="0">
                <a:latin typeface="Consolas" panose="020B0609020204030204" pitchFamily="49" charset="0"/>
              </a:rPr>
              <a:t>, </a:t>
            </a:r>
            <a:r>
              <a:rPr lang="nl-NL" sz="2400" b="1" dirty="0" err="1">
                <a:latin typeface="Consolas" panose="020B0609020204030204" pitchFamily="49" charset="0"/>
              </a:rPr>
              <a:t>objtype</a:t>
            </a:r>
            <a:r>
              <a:rPr lang="nl-NL" sz="2400" b="1" dirty="0">
                <a:latin typeface="Consolas" panose="020B0609020204030204" pitchFamily="49" charset="0"/>
              </a:rPr>
              <a:t>=None):</a:t>
            </a:r>
          </a:p>
          <a:p>
            <a:pPr>
              <a:lnSpc>
                <a:spcPts val="2200"/>
              </a:lnSpc>
            </a:pPr>
            <a:r>
              <a:rPr lang="nl-NL" sz="2400" b="1" dirty="0">
                <a:latin typeface="Consolas" panose="020B0609020204030204" pitchFamily="49" charset="0"/>
              </a:rPr>
              <a:t>    return </a:t>
            </a:r>
            <a:r>
              <a:rPr lang="nl-NL" sz="2400" b="1" dirty="0" err="1">
                <a:latin typeface="Consolas" panose="020B0609020204030204" pitchFamily="49" charset="0"/>
              </a:rPr>
              <a:t>self.fget</a:t>
            </a:r>
            <a:r>
              <a:rPr lang="nl-NL" sz="2400" b="1" dirty="0">
                <a:latin typeface="Consolas" panose="020B0609020204030204" pitchFamily="49" charset="0"/>
              </a:rPr>
              <a:t>(</a:t>
            </a:r>
            <a:r>
              <a:rPr lang="nl-NL" sz="2400" b="1" dirty="0" err="1">
                <a:latin typeface="Consolas" panose="020B0609020204030204" pitchFamily="49" charset="0"/>
              </a:rPr>
              <a:t>obj</a:t>
            </a:r>
            <a:r>
              <a:rPr lang="nl-NL" sz="2400" b="1" dirty="0">
                <a:latin typeface="Consolas" panose="020B0609020204030204" pitchFamily="49" charset="0"/>
              </a:rPr>
              <a:t>)</a:t>
            </a:r>
          </a:p>
          <a:p>
            <a:endParaRPr lang="nl-NL" sz="2400" dirty="0"/>
          </a:p>
          <a:p>
            <a:r>
              <a:rPr lang="nl-NL" sz="2400" dirty="0"/>
              <a:t>Here </a:t>
            </a:r>
            <a:r>
              <a:rPr lang="nl-NL" sz="2400" b="1" dirty="0" err="1">
                <a:latin typeface="Consolas" panose="020B0609020204030204" pitchFamily="49" charset="0"/>
              </a:rPr>
              <a:t>self.fget</a:t>
            </a:r>
            <a:r>
              <a:rPr lang="nl-NL" sz="2400" dirty="0"/>
              <a:t> is </a:t>
            </a:r>
            <a:r>
              <a:rPr lang="nl-NL" sz="2400" dirty="0" err="1"/>
              <a:t>the</a:t>
            </a:r>
            <a:r>
              <a:rPr lang="nl-NL" sz="2400" dirty="0"/>
              <a:t> </a:t>
            </a:r>
            <a:r>
              <a:rPr lang="nl-NL" sz="2400" dirty="0" err="1"/>
              <a:t>original</a:t>
            </a:r>
            <a:r>
              <a:rPr lang="nl-NL" sz="2400" dirty="0"/>
              <a:t> </a:t>
            </a:r>
            <a:r>
              <a:rPr lang="nl-NL" sz="2400" dirty="0" err="1"/>
              <a:t>function</a:t>
            </a:r>
            <a:r>
              <a:rPr lang="nl-NL" sz="2400" dirty="0"/>
              <a:t> </a:t>
            </a:r>
            <a:r>
              <a:rPr lang="nl-NL" sz="2400" b="1" dirty="0">
                <a:latin typeface="Consolas" panose="020B0609020204030204" pitchFamily="49" charset="0"/>
              </a:rPr>
              <a:t>x()</a:t>
            </a:r>
            <a:r>
              <a:rPr lang="nl-NL" sz="2400" dirty="0">
                <a:latin typeface="+mn-lt"/>
              </a:rPr>
              <a:t>, </a:t>
            </a:r>
            <a:r>
              <a:rPr lang="nl-NL" sz="2400" dirty="0" err="1">
                <a:latin typeface="+mn-lt"/>
              </a:rPr>
              <a:t>saved</a:t>
            </a:r>
            <a:r>
              <a:rPr lang="nl-NL" sz="2400" dirty="0">
                <a:latin typeface="+mn-lt"/>
              </a:rPr>
              <a:t> in </a:t>
            </a:r>
            <a:r>
              <a:rPr lang="nl-NL" sz="2400" dirty="0" err="1">
                <a:latin typeface="+mn-lt"/>
              </a:rPr>
              <a:t>the</a:t>
            </a:r>
            <a:r>
              <a:rPr lang="nl-NL" sz="2400" dirty="0">
                <a:latin typeface="+mn-lt"/>
              </a:rPr>
              <a:t> descriptor </a:t>
            </a:r>
            <a:r>
              <a:rPr lang="nl-NL" sz="2400" dirty="0" err="1">
                <a:latin typeface="+mn-lt"/>
              </a:rPr>
              <a:t>instance</a:t>
            </a:r>
            <a:r>
              <a:rPr lang="nl-NL" sz="2400" dirty="0">
                <a:latin typeface="+mn-lt"/>
              </a:rPr>
              <a:t>.</a:t>
            </a:r>
          </a:p>
        </p:txBody>
      </p:sp>
      <p:sp>
        <p:nvSpPr>
          <p:cNvPr id="2" name="Title 1"/>
          <p:cNvSpPr>
            <a:spLocks noGrp="1"/>
          </p:cNvSpPr>
          <p:nvPr>
            <p:ph type="title"/>
          </p:nvPr>
        </p:nvSpPr>
        <p:spPr/>
        <p:txBody>
          <a:bodyPr/>
          <a:lstStyle/>
          <a:p>
            <a:r>
              <a:rPr lang="nl-NL" sz="3000" cap="none" dirty="0" err="1">
                <a:solidFill>
                  <a:schemeClr val="accent1"/>
                </a:solidFill>
              </a:rPr>
              <a:t>Properties</a:t>
            </a:r>
            <a:endParaRPr lang="en-US" sz="3000" cap="none" dirty="0">
              <a:solidFill>
                <a:schemeClr val="accent1"/>
              </a:solidFill>
            </a:endParaRPr>
          </a:p>
        </p:txBody>
      </p:sp>
      <p:sp>
        <p:nvSpPr>
          <p:cNvPr id="5" name="Tekstballon: rechthoek 4">
            <a:extLst>
              <a:ext uri="{FF2B5EF4-FFF2-40B4-BE49-F238E27FC236}">
                <a16:creationId xmlns:a16="http://schemas.microsoft.com/office/drawing/2014/main" id="{F0EEC7CD-45D6-ADE2-FC2F-55DCEED1E986}"/>
              </a:ext>
            </a:extLst>
          </p:cNvPr>
          <p:cNvSpPr/>
          <p:nvPr/>
        </p:nvSpPr>
        <p:spPr>
          <a:xfrm>
            <a:off x="4798579" y="4437113"/>
            <a:ext cx="2160240" cy="360040"/>
          </a:xfrm>
          <a:prstGeom prst="wedgeRectCallout">
            <a:avLst>
              <a:gd name="adj1" fmla="val -97740"/>
              <a:gd name="adj2" fmla="val 6870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Class A </a:t>
            </a:r>
            <a:r>
              <a:rPr lang="nl-NL" sz="1600" dirty="0" err="1"/>
              <a:t>instance</a:t>
            </a:r>
            <a:endParaRPr lang="nl-NL" sz="1600" dirty="0"/>
          </a:p>
        </p:txBody>
      </p:sp>
      <p:sp>
        <p:nvSpPr>
          <p:cNvPr id="6" name="Tekstballon: rechthoek 5">
            <a:extLst>
              <a:ext uri="{FF2B5EF4-FFF2-40B4-BE49-F238E27FC236}">
                <a16:creationId xmlns:a16="http://schemas.microsoft.com/office/drawing/2014/main" id="{BFD47DAB-30E4-8BC1-5052-CBE905A5C27D}"/>
              </a:ext>
            </a:extLst>
          </p:cNvPr>
          <p:cNvSpPr/>
          <p:nvPr/>
        </p:nvSpPr>
        <p:spPr>
          <a:xfrm>
            <a:off x="6312024" y="1518092"/>
            <a:ext cx="4536504" cy="2054924"/>
          </a:xfrm>
          <a:prstGeom prst="wedgeRectCallout">
            <a:avLst>
              <a:gd name="adj1" fmla="val -114206"/>
              <a:gd name="adj2" fmla="val 2357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2400" dirty="0" err="1"/>
              <a:t>This</a:t>
            </a:r>
            <a:r>
              <a:rPr lang="nl-NL" sz="2400" dirty="0"/>
              <a:t> is equivalent </a:t>
            </a:r>
            <a:r>
              <a:rPr lang="nl-NL" sz="2400" dirty="0" err="1"/>
              <a:t>to</a:t>
            </a:r>
            <a:endParaRPr lang="nl-NL" sz="2400" dirty="0"/>
          </a:p>
          <a:p>
            <a:endParaRPr lang="nl-NL" sz="2400" dirty="0"/>
          </a:p>
          <a:p>
            <a:r>
              <a:rPr lang="nl-NL" sz="2400" b="1" dirty="0" err="1">
                <a:latin typeface="Consolas" panose="020B0609020204030204" pitchFamily="49" charset="0"/>
              </a:rPr>
              <a:t>def</a:t>
            </a:r>
            <a:r>
              <a:rPr lang="nl-NL" sz="2400" b="1" dirty="0">
                <a:latin typeface="Consolas" panose="020B0609020204030204" pitchFamily="49" charset="0"/>
              </a:rPr>
              <a:t> x(</a:t>
            </a:r>
            <a:r>
              <a:rPr lang="nl-NL" sz="2400" b="1" dirty="0" err="1">
                <a:latin typeface="Consolas" panose="020B0609020204030204" pitchFamily="49" charset="0"/>
              </a:rPr>
              <a:t>self</a:t>
            </a:r>
            <a:r>
              <a:rPr lang="nl-NL" sz="2400" b="1" dirty="0">
                <a:latin typeface="Consolas" panose="020B0609020204030204" pitchFamily="49" charset="0"/>
              </a:rPr>
              <a:t>):</a:t>
            </a:r>
          </a:p>
          <a:p>
            <a:r>
              <a:rPr lang="nl-NL" sz="2400" b="1" dirty="0">
                <a:latin typeface="Consolas" panose="020B0609020204030204" pitchFamily="49" charset="0"/>
              </a:rPr>
              <a:t>    return </a:t>
            </a:r>
            <a:r>
              <a:rPr lang="nl-NL" sz="2400" b="1" dirty="0" err="1">
                <a:latin typeface="Consolas" panose="020B0609020204030204" pitchFamily="49" charset="0"/>
              </a:rPr>
              <a:t>self</a:t>
            </a:r>
            <a:r>
              <a:rPr lang="nl-NL" sz="2400" b="1" dirty="0">
                <a:latin typeface="Consolas" panose="020B0609020204030204" pitchFamily="49" charset="0"/>
              </a:rPr>
              <a:t>._x</a:t>
            </a:r>
          </a:p>
          <a:p>
            <a:r>
              <a:rPr lang="nl-NL" sz="2400" b="1" dirty="0">
                <a:latin typeface="Consolas" panose="020B0609020204030204" pitchFamily="49" charset="0"/>
              </a:rPr>
              <a:t>x = property(</a:t>
            </a:r>
            <a:r>
              <a:rPr lang="nl-NL" sz="2400" b="1" dirty="0" err="1">
                <a:latin typeface="Consolas" panose="020B0609020204030204" pitchFamily="49" charset="0"/>
              </a:rPr>
              <a:t>fget</a:t>
            </a:r>
            <a:r>
              <a:rPr lang="nl-NL" sz="2400" b="1" dirty="0">
                <a:latin typeface="Consolas" panose="020B0609020204030204" pitchFamily="49" charset="0"/>
              </a:rPr>
              <a:t>=x)</a:t>
            </a:r>
          </a:p>
        </p:txBody>
      </p:sp>
    </p:spTree>
    <p:extLst>
      <p:ext uri="{BB962C8B-B14F-4D97-AF65-F5344CB8AC3E}">
        <p14:creationId xmlns:p14="http://schemas.microsoft.com/office/powerpoint/2010/main" val="6896889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04812" y="1447201"/>
            <a:ext cx="11523836" cy="5022612"/>
          </a:xfrm>
        </p:spPr>
        <p:txBody>
          <a:bodyPr>
            <a:normAutofit/>
          </a:bodyPr>
          <a:lstStyle/>
          <a:p>
            <a:r>
              <a:rPr lang="en-US" sz="2400" dirty="0">
                <a:latin typeface="+mn-lt"/>
              </a:rPr>
              <a:t>The full signature of the property function is</a:t>
            </a:r>
          </a:p>
          <a:p>
            <a:endParaRPr lang="en-US" sz="2400" dirty="0">
              <a:latin typeface="Consolas" panose="020B0609020204030204" pitchFamily="49" charset="0"/>
            </a:endParaRPr>
          </a:p>
          <a:p>
            <a:r>
              <a:rPr lang="en-US" sz="2200" b="1" dirty="0">
                <a:latin typeface="Consolas" panose="020B0609020204030204" pitchFamily="49" charset="0"/>
              </a:rPr>
              <a:t>property(</a:t>
            </a:r>
            <a:r>
              <a:rPr lang="en-US" sz="2200" b="1" dirty="0" err="1">
                <a:latin typeface="Consolas" panose="020B0609020204030204" pitchFamily="49" charset="0"/>
              </a:rPr>
              <a:t>fget</a:t>
            </a:r>
            <a:r>
              <a:rPr lang="en-US" sz="2200" b="1" dirty="0">
                <a:latin typeface="Consolas" panose="020B0609020204030204" pitchFamily="49" charset="0"/>
              </a:rPr>
              <a:t>=None, </a:t>
            </a:r>
            <a:r>
              <a:rPr lang="en-US" sz="2200" b="1" dirty="0" err="1">
                <a:latin typeface="Consolas" panose="020B0609020204030204" pitchFamily="49" charset="0"/>
              </a:rPr>
              <a:t>fset</a:t>
            </a:r>
            <a:r>
              <a:rPr lang="en-US" sz="2200" b="1" dirty="0">
                <a:latin typeface="Consolas" panose="020B0609020204030204" pitchFamily="49" charset="0"/>
              </a:rPr>
              <a:t>=None, </a:t>
            </a:r>
            <a:r>
              <a:rPr lang="en-US" sz="2200" b="1" dirty="0" err="1">
                <a:latin typeface="Consolas" panose="020B0609020204030204" pitchFamily="49" charset="0"/>
              </a:rPr>
              <a:t>fdel</a:t>
            </a:r>
            <a:r>
              <a:rPr lang="en-US" sz="2200" b="1" dirty="0">
                <a:latin typeface="Consolas" panose="020B0609020204030204" pitchFamily="49" charset="0"/>
              </a:rPr>
              <a:t>=None, doc=None) -&gt; property descriptor</a:t>
            </a:r>
          </a:p>
          <a:p>
            <a:endParaRPr lang="en-US" sz="2400" dirty="0">
              <a:latin typeface="+mn-lt"/>
            </a:endParaRPr>
          </a:p>
          <a:p>
            <a:r>
              <a:rPr lang="en-US" sz="2400" b="1" dirty="0" err="1">
                <a:latin typeface="Consolas" panose="020B0609020204030204" pitchFamily="49" charset="0"/>
              </a:rPr>
              <a:t>fget</a:t>
            </a:r>
            <a:r>
              <a:rPr lang="en-US" sz="2400" dirty="0">
                <a:latin typeface="+mn-lt"/>
              </a:rPr>
              <a:t>, </a:t>
            </a:r>
            <a:r>
              <a:rPr lang="en-US" sz="2400" b="1" dirty="0" err="1">
                <a:latin typeface="Consolas" panose="020B0609020204030204" pitchFamily="49" charset="0"/>
              </a:rPr>
              <a:t>fset</a:t>
            </a:r>
            <a:r>
              <a:rPr lang="en-US" sz="2400" dirty="0">
                <a:latin typeface="+mn-lt"/>
              </a:rPr>
              <a:t>, and </a:t>
            </a:r>
            <a:r>
              <a:rPr lang="en-US" sz="2400" b="1" dirty="0" err="1">
                <a:latin typeface="Consolas" panose="020B0609020204030204" pitchFamily="49" charset="0"/>
              </a:rPr>
              <a:t>fdel</a:t>
            </a:r>
            <a:r>
              <a:rPr lang="en-US" sz="2400" dirty="0">
                <a:latin typeface="+mn-lt"/>
              </a:rPr>
              <a:t> are methods defined by the user:</a:t>
            </a:r>
          </a:p>
          <a:p>
            <a:endParaRPr lang="en-US" sz="2400" dirty="0">
              <a:latin typeface="+mn-lt"/>
            </a:endParaRPr>
          </a:p>
          <a:p>
            <a:r>
              <a:rPr lang="en-US" sz="2200" b="1" dirty="0">
                <a:latin typeface="Consolas" panose="020B0609020204030204" pitchFamily="49" charset="0"/>
              </a:rPr>
              <a:t>class C:</a:t>
            </a:r>
          </a:p>
          <a:p>
            <a:r>
              <a:rPr lang="en-US" sz="2200" b="1" dirty="0">
                <a:latin typeface="Consolas" panose="020B0609020204030204" pitchFamily="49" charset="0"/>
              </a:rPr>
              <a:t>    def </a:t>
            </a:r>
            <a:r>
              <a:rPr lang="en-US" sz="2200" b="1" dirty="0" err="1">
                <a:latin typeface="Consolas" panose="020B0609020204030204" pitchFamily="49" charset="0"/>
              </a:rPr>
              <a:t>fget</a:t>
            </a:r>
            <a:r>
              <a:rPr lang="en-US" sz="2200" b="1" dirty="0">
                <a:latin typeface="Consolas" panose="020B0609020204030204" pitchFamily="49" charset="0"/>
              </a:rPr>
              <a:t>(self): </a:t>
            </a:r>
            <a:r>
              <a:rPr lang="en-US" sz="2200" b="1" i="1" dirty="0">
                <a:latin typeface="Consolas" panose="020B0609020204030204" pitchFamily="49" charset="0"/>
              </a:rPr>
              <a:t>&lt;return something&gt;</a:t>
            </a:r>
          </a:p>
          <a:p>
            <a:r>
              <a:rPr lang="en-US" sz="2200" b="1" dirty="0">
                <a:latin typeface="Consolas" panose="020B0609020204030204" pitchFamily="49" charset="0"/>
              </a:rPr>
              <a:t>    def </a:t>
            </a:r>
            <a:r>
              <a:rPr lang="en-US" sz="2200" b="1" dirty="0" err="1">
                <a:latin typeface="Consolas" panose="020B0609020204030204" pitchFamily="49" charset="0"/>
              </a:rPr>
              <a:t>fset</a:t>
            </a:r>
            <a:r>
              <a:rPr lang="en-US" sz="2200" b="1" dirty="0">
                <a:latin typeface="Consolas" panose="020B0609020204030204" pitchFamily="49" charset="0"/>
              </a:rPr>
              <a:t>(self, value): </a:t>
            </a:r>
            <a:r>
              <a:rPr lang="en-US" sz="2200" b="1" i="1" dirty="0">
                <a:latin typeface="Consolas" panose="020B0609020204030204" pitchFamily="49" charset="0"/>
              </a:rPr>
              <a:t>&lt;set some value&gt;</a:t>
            </a:r>
          </a:p>
          <a:p>
            <a:r>
              <a:rPr lang="en-US" sz="2200" b="1" dirty="0">
                <a:latin typeface="Consolas" panose="020B0609020204030204" pitchFamily="49" charset="0"/>
              </a:rPr>
              <a:t>    def </a:t>
            </a:r>
            <a:r>
              <a:rPr lang="en-US" sz="2200" b="1" dirty="0" err="1">
                <a:latin typeface="Consolas" panose="020B0609020204030204" pitchFamily="49" charset="0"/>
              </a:rPr>
              <a:t>fdel</a:t>
            </a:r>
            <a:r>
              <a:rPr lang="en-US" sz="2200" b="1" dirty="0">
                <a:latin typeface="Consolas" panose="020B0609020204030204" pitchFamily="49" charset="0"/>
              </a:rPr>
              <a:t>(self): </a:t>
            </a:r>
            <a:r>
              <a:rPr lang="en-US" sz="2200" b="1" i="1" dirty="0">
                <a:latin typeface="Consolas" panose="020B0609020204030204" pitchFamily="49" charset="0"/>
              </a:rPr>
              <a:t>&lt;delete something&gt;</a:t>
            </a:r>
          </a:p>
          <a:p>
            <a:r>
              <a:rPr lang="en-US" sz="2200" b="1" i="1" dirty="0">
                <a:latin typeface="Consolas" panose="020B0609020204030204" pitchFamily="49" charset="0"/>
              </a:rPr>
              <a:t>    </a:t>
            </a:r>
            <a:r>
              <a:rPr lang="en-US" sz="2200" b="1" dirty="0">
                <a:latin typeface="Consolas" panose="020B0609020204030204" pitchFamily="49" charset="0"/>
              </a:rPr>
              <a:t>x = property(</a:t>
            </a:r>
            <a:r>
              <a:rPr lang="en-US" sz="2200" b="1" dirty="0" err="1">
                <a:latin typeface="Consolas" panose="020B0609020204030204" pitchFamily="49" charset="0"/>
              </a:rPr>
              <a:t>fget</a:t>
            </a:r>
            <a:r>
              <a:rPr lang="en-US" sz="2200" b="1" dirty="0">
                <a:latin typeface="Consolas" panose="020B0609020204030204" pitchFamily="49" charset="0"/>
              </a:rPr>
              <a:t>, </a:t>
            </a:r>
            <a:r>
              <a:rPr lang="en-US" sz="2200" b="1" dirty="0" err="1">
                <a:latin typeface="Consolas" panose="020B0609020204030204" pitchFamily="49" charset="0"/>
              </a:rPr>
              <a:t>fset</a:t>
            </a:r>
            <a:r>
              <a:rPr lang="en-US" sz="2200" b="1" dirty="0">
                <a:latin typeface="Consolas" panose="020B0609020204030204" pitchFamily="49" charset="0"/>
              </a:rPr>
              <a:t>, </a:t>
            </a:r>
            <a:r>
              <a:rPr lang="en-US" sz="2200" b="1" dirty="0" err="1">
                <a:latin typeface="Consolas" panose="020B0609020204030204" pitchFamily="49" charset="0"/>
              </a:rPr>
              <a:t>fdel</a:t>
            </a:r>
            <a:r>
              <a:rPr lang="en-US" sz="2200" b="1" dirty="0">
                <a:latin typeface="Consolas" panose="020B0609020204030204" pitchFamily="49" charset="0"/>
              </a:rPr>
              <a:t>)</a:t>
            </a:r>
          </a:p>
          <a:p>
            <a:pPr lvl="1" indent="0">
              <a:buNone/>
            </a:pP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The property </a:t>
            </a:r>
            <a:r>
              <a:rPr lang="nl-NL" sz="3000" cap="none" dirty="0" err="1">
                <a:solidFill>
                  <a:schemeClr val="accent1"/>
                </a:solidFill>
              </a:rPr>
              <a:t>function</a:t>
            </a:r>
            <a:endParaRPr lang="en-US" sz="3000" cap="none" dirty="0">
              <a:solidFill>
                <a:schemeClr val="accent1"/>
              </a:solidFill>
            </a:endParaRPr>
          </a:p>
        </p:txBody>
      </p:sp>
    </p:spTree>
    <p:extLst>
      <p:ext uri="{BB962C8B-B14F-4D97-AF65-F5344CB8AC3E}">
        <p14:creationId xmlns:p14="http://schemas.microsoft.com/office/powerpoint/2010/main" val="40526166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pPr>
              <a:lnSpc>
                <a:spcPct val="110000"/>
              </a:lnSpc>
            </a:pPr>
            <a:r>
              <a:rPr lang="en-US" sz="2400" dirty="0">
                <a:latin typeface="+mn-lt"/>
              </a:rPr>
              <a:t>A common practice is to use decorators to define properties. That avoids cluttering the namespace of the class with functions that are not used directly.</a:t>
            </a:r>
          </a:p>
          <a:p>
            <a:endParaRPr lang="en-US" sz="2400" dirty="0">
              <a:latin typeface="+mn-lt"/>
            </a:endParaRPr>
          </a:p>
          <a:p>
            <a:r>
              <a:rPr lang="en-US" sz="2400" b="1" dirty="0">
                <a:latin typeface="Consolas" panose="020B0609020204030204" pitchFamily="49" charset="0"/>
              </a:rPr>
              <a:t>class C: </a:t>
            </a:r>
          </a:p>
          <a:p>
            <a:r>
              <a:rPr lang="en-US" sz="2400" b="1" dirty="0">
                <a:latin typeface="Consolas" panose="020B0609020204030204" pitchFamily="49" charset="0"/>
              </a:rPr>
              <a:t>    @property</a:t>
            </a:r>
          </a:p>
          <a:p>
            <a:r>
              <a:rPr lang="en-US" sz="2400" b="1" dirty="0">
                <a:latin typeface="Consolas" panose="020B0609020204030204" pitchFamily="49" charset="0"/>
              </a:rPr>
              <a:t>    def x(self): </a:t>
            </a:r>
            <a:r>
              <a:rPr lang="en-US" sz="2400" b="1" i="1" dirty="0">
                <a:latin typeface="Consolas" panose="020B0609020204030204" pitchFamily="49" charset="0"/>
              </a:rPr>
              <a:t>&lt;return something&gt;</a:t>
            </a:r>
          </a:p>
          <a:p>
            <a:endParaRPr lang="en-US" sz="2400" b="1" dirty="0">
              <a:latin typeface="Consolas" panose="020B0609020204030204" pitchFamily="49" charset="0"/>
            </a:endParaRPr>
          </a:p>
          <a:p>
            <a:r>
              <a:rPr lang="en-US" sz="2400" b="1" dirty="0">
                <a:latin typeface="Consolas" panose="020B0609020204030204" pitchFamily="49" charset="0"/>
              </a:rPr>
              <a:t>    @x.setter</a:t>
            </a:r>
          </a:p>
          <a:p>
            <a:r>
              <a:rPr lang="en-US" sz="2400" b="1" dirty="0">
                <a:latin typeface="Consolas" panose="020B0609020204030204" pitchFamily="49" charset="0"/>
              </a:rPr>
              <a:t>    def x(self, value): </a:t>
            </a:r>
            <a:r>
              <a:rPr lang="en-US" sz="2400" b="1" i="1" dirty="0">
                <a:latin typeface="Consolas" panose="020B0609020204030204" pitchFamily="49" charset="0"/>
              </a:rPr>
              <a:t>&lt;set some value&gt;</a:t>
            </a:r>
          </a:p>
          <a:p>
            <a:endParaRPr lang="en-US" sz="2400" b="1" dirty="0">
              <a:latin typeface="Consolas" panose="020B0609020204030204" pitchFamily="49" charset="0"/>
            </a:endParaRPr>
          </a:p>
          <a:p>
            <a:r>
              <a:rPr lang="en-US" sz="2400" b="1" dirty="0">
                <a:latin typeface="Consolas" panose="020B0609020204030204" pitchFamily="49" charset="0"/>
              </a:rPr>
              <a:t>    @x.delete</a:t>
            </a:r>
          </a:p>
          <a:p>
            <a:r>
              <a:rPr lang="en-US" sz="2400" b="1" dirty="0">
                <a:latin typeface="Consolas" panose="020B0609020204030204" pitchFamily="49" charset="0"/>
              </a:rPr>
              <a:t>    def x(self): </a:t>
            </a:r>
            <a:r>
              <a:rPr lang="en-US" sz="2400" b="1" i="1" dirty="0">
                <a:latin typeface="Consolas" panose="020B0609020204030204" pitchFamily="49" charset="0"/>
              </a:rPr>
              <a:t>&lt;delete something&gt;</a:t>
            </a: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Property </a:t>
            </a:r>
            <a:r>
              <a:rPr lang="nl-NL" sz="3000" cap="none" dirty="0" err="1">
                <a:solidFill>
                  <a:schemeClr val="accent1"/>
                </a:solidFill>
              </a:rPr>
              <a:t>decorators</a:t>
            </a:r>
            <a:endParaRPr lang="en-US" sz="3000" cap="none" dirty="0">
              <a:solidFill>
                <a:schemeClr val="accent1"/>
              </a:solidFill>
            </a:endParaRPr>
          </a:p>
        </p:txBody>
      </p:sp>
    </p:spTree>
    <p:extLst>
      <p:ext uri="{BB962C8B-B14F-4D97-AF65-F5344CB8AC3E}">
        <p14:creationId xmlns:p14="http://schemas.microsoft.com/office/powerpoint/2010/main" val="11570920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sz="2400" dirty="0">
                <a:latin typeface="Ubuntu" panose="020B0604020202020204" charset="0"/>
              </a:rPr>
              <a:t>From the first masterclass on the object model:</a:t>
            </a:r>
          </a:p>
          <a:p>
            <a:endParaRPr lang="en-US" sz="2400" dirty="0">
              <a:latin typeface="Ubuntu" panose="020B0604020202020204" charset="0"/>
            </a:endParaRPr>
          </a:p>
          <a:p>
            <a:pPr marL="342900" indent="-342900">
              <a:buFont typeface="Arial" panose="020B0604020202020204" pitchFamily="34" charset="0"/>
              <a:buChar char="•"/>
            </a:pPr>
            <a:r>
              <a:rPr lang="en-US" sz="2400" dirty="0">
                <a:latin typeface="Ubuntu" panose="020B0604020202020204" charset="0"/>
              </a:rPr>
              <a:t>Regular objects are instances of a class</a:t>
            </a:r>
          </a:p>
          <a:p>
            <a:pPr marL="342900" indent="-342900">
              <a:buFont typeface="Arial" panose="020B0604020202020204" pitchFamily="34" charset="0"/>
              <a:buChar char="•"/>
            </a:pPr>
            <a:r>
              <a:rPr lang="en-US" sz="2400" dirty="0">
                <a:latin typeface="Ubuntu" panose="020B0604020202020204" charset="0"/>
              </a:rPr>
              <a:t>Classes are instances of a </a:t>
            </a:r>
            <a:r>
              <a:rPr lang="en-US" sz="2400" dirty="0" err="1">
                <a:latin typeface="Ubuntu" panose="020B0604020202020204" charset="0"/>
              </a:rPr>
              <a:t>metaclass</a:t>
            </a:r>
            <a:r>
              <a:rPr lang="en-US" sz="2400" dirty="0">
                <a:latin typeface="Ubuntu" panose="020B0604020202020204" charset="0"/>
              </a:rPr>
              <a:t>.</a:t>
            </a:r>
          </a:p>
          <a:p>
            <a:pPr marL="342900" indent="-342900">
              <a:buFont typeface="Arial" panose="020B0604020202020204" pitchFamily="34" charset="0"/>
              <a:buChar char="•"/>
            </a:pPr>
            <a:r>
              <a:rPr lang="en-US" sz="2400" dirty="0">
                <a:latin typeface="Ubuntu" panose="020B0604020202020204" charset="0"/>
              </a:rPr>
              <a:t>All classes are subclasses of </a:t>
            </a:r>
            <a:r>
              <a:rPr lang="en-US" sz="2400" b="1" dirty="0">
                <a:latin typeface="Consolas" panose="020B0609020204030204" pitchFamily="49" charset="0"/>
              </a:rPr>
              <a:t>object</a:t>
            </a:r>
          </a:p>
          <a:p>
            <a:pPr marL="342900" indent="-342900">
              <a:buFont typeface="Arial" panose="020B0604020202020204" pitchFamily="34" charset="0"/>
              <a:buChar char="•"/>
            </a:pPr>
            <a:r>
              <a:rPr lang="en-US" sz="2400" dirty="0" err="1">
                <a:latin typeface="Ubuntu" panose="020B0604020202020204" charset="0"/>
              </a:rPr>
              <a:t>Metaclasses</a:t>
            </a:r>
            <a:r>
              <a:rPr lang="en-US" sz="2400" dirty="0">
                <a:latin typeface="Ubuntu" panose="020B0604020202020204" charset="0"/>
              </a:rPr>
              <a:t> are (subclasses of) </a:t>
            </a:r>
            <a:r>
              <a:rPr lang="en-US" sz="2400" b="1" dirty="0">
                <a:latin typeface="Consolas" panose="020B0609020204030204" pitchFamily="49" charset="0"/>
              </a:rPr>
              <a:t>type</a:t>
            </a:r>
          </a:p>
          <a:p>
            <a:pPr marL="342900" indent="-342900">
              <a:buFont typeface="Arial" panose="020B0604020202020204" pitchFamily="34" charset="0"/>
              <a:buChar char="•"/>
            </a:pPr>
            <a:endParaRPr lang="nl-NL" sz="2400" dirty="0"/>
          </a:p>
        </p:txBody>
      </p:sp>
      <p:sp>
        <p:nvSpPr>
          <p:cNvPr id="2" name="Title 1"/>
          <p:cNvSpPr>
            <a:spLocks noGrp="1"/>
          </p:cNvSpPr>
          <p:nvPr>
            <p:ph type="title"/>
          </p:nvPr>
        </p:nvSpPr>
        <p:spPr/>
        <p:txBody>
          <a:bodyPr/>
          <a:lstStyle/>
          <a:p>
            <a:r>
              <a:rPr lang="nl-NL" sz="3000" cap="none" dirty="0">
                <a:solidFill>
                  <a:schemeClr val="accent1"/>
                </a:solidFill>
              </a:rPr>
              <a:t>Object </a:t>
            </a:r>
            <a:r>
              <a:rPr lang="nl-NL" sz="3000" cap="none" dirty="0" err="1">
                <a:solidFill>
                  <a:schemeClr val="accent1"/>
                </a:solidFill>
              </a:rPr>
              <a:t>hierarchy</a:t>
            </a:r>
            <a:endParaRPr lang="en-US" sz="3000" cap="none" dirty="0">
              <a:solidFill>
                <a:schemeClr val="accent1"/>
              </a:solidFill>
            </a:endParaRPr>
          </a:p>
        </p:txBody>
      </p:sp>
      <p:grpSp>
        <p:nvGrpSpPr>
          <p:cNvPr id="4" name="Group 14">
            <a:extLst>
              <a:ext uri="{FF2B5EF4-FFF2-40B4-BE49-F238E27FC236}">
                <a16:creationId xmlns:a16="http://schemas.microsoft.com/office/drawing/2014/main" id="{0058F043-8FBE-F8E6-4812-740D5C1E55BD}"/>
              </a:ext>
            </a:extLst>
          </p:cNvPr>
          <p:cNvGrpSpPr/>
          <p:nvPr/>
        </p:nvGrpSpPr>
        <p:grpSpPr>
          <a:xfrm>
            <a:off x="5159896" y="2721696"/>
            <a:ext cx="7619093" cy="4140000"/>
            <a:chOff x="4879191" y="3033416"/>
            <a:chExt cx="7619093" cy="4140000"/>
          </a:xfrm>
        </p:grpSpPr>
        <p:sp>
          <p:nvSpPr>
            <p:cNvPr id="5" name="Rectangle 12">
              <a:extLst>
                <a:ext uri="{FF2B5EF4-FFF2-40B4-BE49-F238E27FC236}">
                  <a16:creationId xmlns:a16="http://schemas.microsoft.com/office/drawing/2014/main" id="{8D9EB74B-268E-BB0F-5971-5BBA74022303}"/>
                </a:ext>
              </a:extLst>
            </p:cNvPr>
            <p:cNvSpPr/>
            <p:nvPr/>
          </p:nvSpPr>
          <p:spPr>
            <a:xfrm>
              <a:off x="7680176" y="3068960"/>
              <a:ext cx="4818108" cy="4104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11">
              <a:extLst>
                <a:ext uri="{FF2B5EF4-FFF2-40B4-BE49-F238E27FC236}">
                  <a16:creationId xmlns:a16="http://schemas.microsoft.com/office/drawing/2014/main" id="{0A066E09-EF31-BDE7-41E9-2DC88D497BD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879191" y="3033416"/>
              <a:ext cx="7611645" cy="4140000"/>
            </a:xfrm>
            <a:prstGeom prst="rect">
              <a:avLst/>
            </a:prstGeom>
          </p:spPr>
        </p:pic>
      </p:grpSp>
    </p:spTree>
    <p:extLst>
      <p:ext uri="{BB962C8B-B14F-4D97-AF65-F5344CB8AC3E}">
        <p14:creationId xmlns:p14="http://schemas.microsoft.com/office/powerpoint/2010/main" val="1896541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r>
              <a:rPr lang="en-US" sz="2400" b="1" dirty="0">
                <a:latin typeface="Consolas" panose="020B0609020204030204" pitchFamily="49" charset="0"/>
              </a:rPr>
              <a:t>class Property: </a:t>
            </a:r>
          </a:p>
          <a:p>
            <a:r>
              <a:rPr lang="en-US" sz="2400" b="1" dirty="0">
                <a:latin typeface="Consolas" panose="020B0609020204030204" pitchFamily="49" charset="0"/>
              </a:rPr>
              <a:t>    def __</a:t>
            </a:r>
            <a:r>
              <a:rPr lang="en-US" sz="2400" b="1" dirty="0" err="1">
                <a:latin typeface="Consolas" panose="020B0609020204030204" pitchFamily="49" charset="0"/>
              </a:rPr>
              <a:t>init</a:t>
            </a:r>
            <a:r>
              <a:rPr lang="en-US" sz="2400" b="1" dirty="0">
                <a:latin typeface="Consolas" panose="020B0609020204030204" pitchFamily="49" charset="0"/>
              </a:rPr>
              <a:t>__(self, </a:t>
            </a:r>
            <a:r>
              <a:rPr lang="en-US" sz="2400" b="1" dirty="0" err="1">
                <a:latin typeface="Consolas" panose="020B0609020204030204" pitchFamily="49" charset="0"/>
              </a:rPr>
              <a:t>fget</a:t>
            </a:r>
            <a:r>
              <a:rPr lang="en-US" sz="2400" b="1" dirty="0">
                <a:latin typeface="Consolas" panose="020B0609020204030204" pitchFamily="49" charset="0"/>
              </a:rPr>
              <a:t>=None, </a:t>
            </a:r>
            <a:r>
              <a:rPr lang="en-US" sz="2400" b="1" dirty="0" err="1">
                <a:latin typeface="Consolas" panose="020B0609020204030204" pitchFamily="49" charset="0"/>
              </a:rPr>
              <a:t>fset</a:t>
            </a:r>
            <a:r>
              <a:rPr lang="en-US" sz="2400" b="1" dirty="0">
                <a:latin typeface="Consolas" panose="020B0609020204030204" pitchFamily="49" charset="0"/>
              </a:rPr>
              <a:t>=None, </a:t>
            </a:r>
            <a:r>
              <a:rPr lang="en-US" sz="2400" b="1" dirty="0" err="1">
                <a:latin typeface="Consolas" panose="020B0609020204030204" pitchFamily="49" charset="0"/>
              </a:rPr>
              <a:t>fdel</a:t>
            </a:r>
            <a:r>
              <a:rPr lang="en-US" sz="2400" b="1" dirty="0">
                <a:latin typeface="Consolas" panose="020B0609020204030204" pitchFamily="49" charset="0"/>
              </a:rPr>
              <a:t>=None, doc=None):</a:t>
            </a:r>
          </a:p>
          <a:p>
            <a:r>
              <a:rPr lang="en-US" sz="2400" b="1" i="1" dirty="0">
                <a:latin typeface="Consolas" panose="020B0609020204030204" pitchFamily="49" charset="0"/>
              </a:rPr>
              <a:t>        </a:t>
            </a:r>
            <a:r>
              <a:rPr lang="en-US" sz="2400" b="1" dirty="0" err="1">
                <a:latin typeface="Consolas" panose="020B0609020204030204" pitchFamily="49" charset="0"/>
              </a:rPr>
              <a:t>self.fget</a:t>
            </a:r>
            <a:r>
              <a:rPr lang="en-US" sz="2400" b="1" dirty="0">
                <a:latin typeface="Consolas" panose="020B0609020204030204" pitchFamily="49" charset="0"/>
              </a:rPr>
              <a:t> = </a:t>
            </a:r>
            <a:r>
              <a:rPr lang="en-US" sz="2400" b="1" dirty="0" err="1">
                <a:latin typeface="Consolas" panose="020B0609020204030204" pitchFamily="49" charset="0"/>
              </a:rPr>
              <a:t>fget</a:t>
            </a:r>
            <a:endParaRPr lang="en-US"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set</a:t>
            </a:r>
            <a:r>
              <a:rPr lang="en-US" sz="2400" b="1" dirty="0">
                <a:latin typeface="Consolas" panose="020B0609020204030204" pitchFamily="49" charset="0"/>
              </a:rPr>
              <a:t> = </a:t>
            </a:r>
            <a:r>
              <a:rPr lang="en-US" sz="2400" b="1" dirty="0" err="1">
                <a:latin typeface="Consolas" panose="020B0609020204030204" pitchFamily="49" charset="0"/>
              </a:rPr>
              <a:t>fset</a:t>
            </a:r>
            <a:endParaRPr lang="en-US" sz="2400"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del</a:t>
            </a:r>
            <a:r>
              <a:rPr lang="en-US" sz="2400" b="1" dirty="0">
                <a:latin typeface="Consolas" panose="020B0609020204030204" pitchFamily="49" charset="0"/>
              </a:rPr>
              <a:t> = </a:t>
            </a:r>
            <a:r>
              <a:rPr lang="en-US" sz="2400" b="1" dirty="0" err="1">
                <a:latin typeface="Consolas" panose="020B0609020204030204" pitchFamily="49" charset="0"/>
              </a:rPr>
              <a:t>fdel</a:t>
            </a:r>
            <a:endParaRPr lang="en-US" sz="2400" b="1" dirty="0">
              <a:latin typeface="Consolas" panose="020B0609020204030204" pitchFamily="49" charset="0"/>
            </a:endParaRPr>
          </a:p>
          <a:p>
            <a:endParaRPr lang="en-US" sz="2400" b="1" dirty="0">
              <a:latin typeface="Consolas" panose="020B0609020204030204" pitchFamily="49" charset="0"/>
            </a:endParaRPr>
          </a:p>
          <a:p>
            <a:r>
              <a:rPr lang="en-US" sz="2400" b="1" dirty="0">
                <a:latin typeface="Consolas" panose="020B0609020204030204" pitchFamily="49" charset="0"/>
              </a:rPr>
              <a:t>    def __get__(self, obj, </a:t>
            </a:r>
            <a:r>
              <a:rPr lang="en-US" sz="2400" b="1" dirty="0" err="1">
                <a:latin typeface="Consolas" panose="020B0609020204030204" pitchFamily="49" charset="0"/>
              </a:rPr>
              <a:t>owner_class</a:t>
            </a:r>
            <a:r>
              <a:rPr lang="en-US" sz="2400" b="1" dirty="0">
                <a:latin typeface="Consolas" panose="020B0609020204030204" pitchFamily="49" charset="0"/>
              </a:rPr>
              <a:t>=None):</a:t>
            </a:r>
          </a:p>
          <a:p>
            <a:r>
              <a:rPr lang="en-US" sz="2400" b="1" dirty="0">
                <a:latin typeface="Consolas" panose="020B0609020204030204" pitchFamily="49" charset="0"/>
              </a:rPr>
              <a:t>        if </a:t>
            </a:r>
            <a:r>
              <a:rPr lang="en-US" sz="2400" b="1" dirty="0" err="1">
                <a:latin typeface="Consolas" panose="020B0609020204030204" pitchFamily="49" charset="0"/>
              </a:rPr>
              <a:t>self.fget</a:t>
            </a:r>
            <a:r>
              <a:rPr lang="en-US" sz="2400" b="1" dirty="0">
                <a:latin typeface="Consolas" panose="020B0609020204030204" pitchFamily="49" charset="0"/>
              </a:rPr>
              <a:t> is None:</a:t>
            </a:r>
          </a:p>
          <a:p>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a:t>
            </a:r>
          </a:p>
          <a:p>
            <a:r>
              <a:rPr lang="en-US" sz="2400" b="1" dirty="0">
                <a:latin typeface="Consolas" panose="020B0609020204030204" pitchFamily="49" charset="0"/>
              </a:rPr>
              <a:t>        return </a:t>
            </a:r>
            <a:r>
              <a:rPr lang="en-US" sz="2400" b="1" dirty="0" err="1">
                <a:latin typeface="Consolas" panose="020B0609020204030204" pitchFamily="49" charset="0"/>
              </a:rPr>
              <a:t>self.fget</a:t>
            </a:r>
            <a:r>
              <a:rPr lang="en-US" sz="2400" b="1" dirty="0">
                <a:latin typeface="Consolas" panose="020B0609020204030204" pitchFamily="49" charset="0"/>
              </a:rPr>
              <a:t>(obj)</a:t>
            </a:r>
          </a:p>
          <a:p>
            <a:endParaRPr lang="en-US" sz="2400" b="1" dirty="0">
              <a:latin typeface="Consolas" panose="020B0609020204030204" pitchFamily="49" charset="0"/>
            </a:endParaRPr>
          </a:p>
          <a:p>
            <a:r>
              <a:rPr lang="en-US" sz="2400" b="1" dirty="0">
                <a:latin typeface="Consolas" panose="020B0609020204030204" pitchFamily="49" charset="0"/>
              </a:rPr>
              <a:t>    # Similar for __set__ and __delete__</a:t>
            </a:r>
          </a:p>
        </p:txBody>
      </p:sp>
      <p:sp>
        <p:nvSpPr>
          <p:cNvPr id="2" name="Title 1"/>
          <p:cNvSpPr>
            <a:spLocks noGrp="1"/>
          </p:cNvSpPr>
          <p:nvPr>
            <p:ph type="title"/>
          </p:nvPr>
        </p:nvSpPr>
        <p:spPr/>
        <p:txBody>
          <a:bodyPr/>
          <a:lstStyle/>
          <a:p>
            <a:r>
              <a:rPr lang="nl-NL" sz="3000" cap="none" dirty="0" err="1">
                <a:solidFill>
                  <a:schemeClr val="accent1"/>
                </a:solidFill>
              </a:rPr>
              <a:t>Barebones</a:t>
            </a:r>
            <a:r>
              <a:rPr lang="nl-NL" sz="3000" cap="none" dirty="0">
                <a:solidFill>
                  <a:schemeClr val="accent1"/>
                </a:solidFill>
              </a:rPr>
              <a:t> property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1735906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unctions, methods, </a:t>
            </a:r>
            <a:r>
              <a:rPr lang="en-GB" dirty="0" err="1"/>
              <a:t>classmethods</a:t>
            </a:r>
            <a:r>
              <a:rPr lang="en-GB" dirty="0"/>
              <a:t>, </a:t>
            </a:r>
            <a:r>
              <a:rPr lang="en-GB" dirty="0" err="1"/>
              <a:t>staticmethods</a:t>
            </a:r>
            <a:endParaRPr lang="en-GB"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4</a:t>
            </a:r>
          </a:p>
        </p:txBody>
      </p:sp>
    </p:spTree>
    <p:extLst>
      <p:ext uri="{BB962C8B-B14F-4D97-AF65-F5344CB8AC3E}">
        <p14:creationId xmlns:p14="http://schemas.microsoft.com/office/powerpoint/2010/main" val="1187696428"/>
      </p:ext>
    </p:extLst>
  </p:cSld>
  <p:clrMapOvr>
    <a:masterClrMapping/>
  </p:clrMapOvr>
  <p:transition spd="slow">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110000"/>
              </a:lnSpc>
            </a:pPr>
            <a:r>
              <a:rPr lang="en-US" sz="2000" dirty="0">
                <a:latin typeface="+mn-lt"/>
              </a:rPr>
              <a:t>What not every Python programmer is aware of, is that user-defined functions are descriptors.</a:t>
            </a:r>
          </a:p>
          <a:p>
            <a:pPr>
              <a:lnSpc>
                <a:spcPct val="110000"/>
              </a:lnSpc>
            </a:pPr>
            <a:endParaRPr lang="en-US" dirty="0">
              <a:latin typeface="+mn-lt"/>
            </a:endParaRPr>
          </a:p>
          <a:p>
            <a:r>
              <a:rPr lang="en-US" sz="2000" b="1" dirty="0">
                <a:latin typeface="Consolas" panose="020B0609020204030204" pitchFamily="49" charset="0"/>
              </a:rPr>
              <a:t>&gt;&gt;&gt; def f(x, y):</a:t>
            </a:r>
          </a:p>
          <a:p>
            <a:r>
              <a:rPr lang="en-US" b="1" dirty="0">
                <a:latin typeface="Consolas" panose="020B0609020204030204" pitchFamily="49" charset="0"/>
              </a:rPr>
              <a:t>...     print(f"{x=}, {y=}")</a:t>
            </a:r>
          </a:p>
          <a:p>
            <a:r>
              <a:rPr lang="en-US" sz="2000" b="1" dirty="0">
                <a:latin typeface="Consolas" panose="020B0609020204030204" pitchFamily="49" charset="0"/>
              </a:rPr>
              <a:t>... </a:t>
            </a:r>
          </a:p>
          <a:p>
            <a:r>
              <a:rPr lang="en-US" b="1" dirty="0">
                <a:latin typeface="Consolas" panose="020B0609020204030204" pitchFamily="49" charset="0"/>
              </a:rPr>
              <a:t>&gt;&gt;&gt; </a:t>
            </a:r>
            <a:r>
              <a:rPr lang="en-US" b="1" dirty="0" err="1">
                <a:latin typeface="Consolas" panose="020B0609020204030204" pitchFamily="49" charset="0"/>
              </a:rPr>
              <a:t>f.__get</a:t>
            </a:r>
            <a:r>
              <a:rPr lang="en-US" b="1" dirty="0">
                <a:latin typeface="Consolas" panose="020B0609020204030204" pitchFamily="49" charset="0"/>
              </a:rPr>
              <a:t>__</a:t>
            </a:r>
          </a:p>
          <a:p>
            <a:r>
              <a:rPr lang="en-US" sz="2000" b="1" dirty="0">
                <a:latin typeface="Consolas" panose="020B0609020204030204" pitchFamily="49" charset="0"/>
              </a:rPr>
              <a:t>&lt;method-wrapper '__get__' of function object at 0x...&gt;</a:t>
            </a:r>
          </a:p>
          <a:p>
            <a:endParaRPr lang="en-US" b="1" dirty="0">
              <a:latin typeface="Consolas" panose="020B0609020204030204" pitchFamily="49" charset="0"/>
            </a:endParaRPr>
          </a:p>
          <a:p>
            <a:r>
              <a:rPr lang="en-US" dirty="0">
                <a:latin typeface="+mn-lt"/>
              </a:rPr>
              <a:t>You can call </a:t>
            </a:r>
            <a:r>
              <a:rPr lang="en-US" b="1" dirty="0" err="1">
                <a:latin typeface="Consolas" panose="020B0609020204030204" pitchFamily="49" charset="0"/>
              </a:rPr>
              <a:t>f.__get</a:t>
            </a:r>
            <a:r>
              <a:rPr lang="en-US" b="1" dirty="0">
                <a:latin typeface="Consolas" panose="020B0609020204030204" pitchFamily="49" charset="0"/>
              </a:rPr>
              <a:t>__()</a:t>
            </a:r>
            <a:r>
              <a:rPr lang="en-US" dirty="0">
                <a:latin typeface="+mn-lt"/>
              </a:rPr>
              <a:t> with any value. It will be filled in as the first argument of </a:t>
            </a:r>
            <a:r>
              <a:rPr lang="en-US" b="1" dirty="0">
                <a:latin typeface="Consolas" panose="020B0609020204030204" pitchFamily="49" charset="0"/>
              </a:rPr>
              <a:t>f</a:t>
            </a:r>
            <a:r>
              <a:rPr lang="en-US" dirty="0">
                <a:latin typeface="+mn-lt"/>
              </a:rPr>
              <a:t>:</a:t>
            </a:r>
          </a:p>
          <a:p>
            <a:endParaRPr lang="en-US" b="1" dirty="0">
              <a:latin typeface="Consolas" panose="020B0609020204030204" pitchFamily="49" charset="0"/>
            </a:endParaRPr>
          </a:p>
          <a:p>
            <a:r>
              <a:rPr lang="en-US" sz="2000" b="1" dirty="0">
                <a:latin typeface="Consolas" panose="020B0609020204030204" pitchFamily="49" charset="0"/>
              </a:rPr>
              <a:t>&gt;&gt;&gt; p = </a:t>
            </a:r>
            <a:r>
              <a:rPr lang="en-US" sz="2000" b="1" dirty="0" err="1">
                <a:latin typeface="Consolas" panose="020B0609020204030204" pitchFamily="49" charset="0"/>
              </a:rPr>
              <a:t>f.__get</a:t>
            </a:r>
            <a:r>
              <a:rPr lang="en-US" sz="2000" b="1" dirty="0">
                <a:latin typeface="Consolas" panose="020B0609020204030204" pitchFamily="49" charset="0"/>
              </a:rPr>
              <a:t>__(1)</a:t>
            </a:r>
          </a:p>
          <a:p>
            <a:r>
              <a:rPr lang="en-US" b="1" dirty="0">
                <a:latin typeface="Consolas" panose="020B0609020204030204" pitchFamily="49" charset="0"/>
              </a:rPr>
              <a:t>&gt;&gt;&gt; p(3)</a:t>
            </a:r>
          </a:p>
          <a:p>
            <a:r>
              <a:rPr lang="en-US" b="1" dirty="0">
                <a:latin typeface="Consolas" panose="020B0609020204030204" pitchFamily="49" charset="0"/>
              </a:rPr>
              <a:t>x</a:t>
            </a:r>
            <a:r>
              <a:rPr lang="en-US" sz="2000" b="1" dirty="0">
                <a:latin typeface="Consolas" panose="020B0609020204030204" pitchFamily="49" charset="0"/>
              </a:rPr>
              <a:t>=1, y=3</a:t>
            </a:r>
          </a:p>
        </p:txBody>
      </p:sp>
      <p:sp>
        <p:nvSpPr>
          <p:cNvPr id="2" name="Title 1"/>
          <p:cNvSpPr>
            <a:spLocks noGrp="1"/>
          </p:cNvSpPr>
          <p:nvPr>
            <p:ph type="title"/>
          </p:nvPr>
        </p:nvSpPr>
        <p:spPr/>
        <p:txBody>
          <a:bodyPr/>
          <a:lstStyle/>
          <a:p>
            <a:r>
              <a:rPr lang="nl-NL" sz="3000" cap="none" dirty="0" err="1">
                <a:solidFill>
                  <a:schemeClr val="accent1"/>
                </a:solidFill>
              </a:rPr>
              <a:t>Functions</a:t>
            </a:r>
            <a:r>
              <a:rPr lang="nl-NL" sz="3000" cap="none" dirty="0">
                <a:solidFill>
                  <a:schemeClr val="accent1"/>
                </a:solidFill>
              </a:rPr>
              <a:t> are </a:t>
            </a:r>
            <a:r>
              <a:rPr lang="nl-NL" sz="3000" cap="none" dirty="0" err="1">
                <a:solidFill>
                  <a:schemeClr val="accent1"/>
                </a:solidFill>
              </a:rPr>
              <a:t>descriptors</a:t>
            </a:r>
            <a:endParaRPr lang="en-US" sz="3000" cap="none" dirty="0">
              <a:solidFill>
                <a:schemeClr val="accent1"/>
              </a:solidFill>
            </a:endParaRPr>
          </a:p>
        </p:txBody>
      </p:sp>
    </p:spTree>
    <p:extLst>
      <p:ext uri="{BB962C8B-B14F-4D97-AF65-F5344CB8AC3E}">
        <p14:creationId xmlns:p14="http://schemas.microsoft.com/office/powerpoint/2010/main" val="39491550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gt;&gt;&gt; c</a:t>
            </a:r>
            <a:r>
              <a:rPr lang="en-US" sz="2000" b="1" dirty="0">
                <a:latin typeface="Consolas" panose="020B0609020204030204" pitchFamily="49" charset="0"/>
              </a:rPr>
              <a:t>lass C:</a:t>
            </a:r>
          </a:p>
          <a:p>
            <a:pPr>
              <a:lnSpc>
                <a:spcPct val="80000"/>
              </a:lnSpc>
            </a:pPr>
            <a:r>
              <a:rPr lang="en-US" sz="2000" b="1" dirty="0">
                <a:latin typeface="Consolas" panose="020B0609020204030204" pitchFamily="49" charset="0"/>
              </a:rPr>
              <a:t>...     def f(self, x):</a:t>
            </a:r>
          </a:p>
          <a:p>
            <a:pPr>
              <a:lnSpc>
                <a:spcPct val="80000"/>
              </a:lnSpc>
            </a:pPr>
            <a:r>
              <a:rPr lang="en-US" b="1" dirty="0">
                <a:latin typeface="Consolas" panose="020B0609020204030204" pitchFamily="49" charset="0"/>
              </a:rPr>
              <a:t>...         print(x)</a:t>
            </a:r>
          </a:p>
          <a:p>
            <a:pPr>
              <a:lnSpc>
                <a:spcPct val="80000"/>
              </a:lnSpc>
            </a:pPr>
            <a:r>
              <a:rPr lang="en-US" sz="2000" b="1" dirty="0">
                <a:latin typeface="Consolas" panose="020B0609020204030204" pitchFamily="49" charset="0"/>
              </a:rPr>
              <a:t>&gt;&gt;&gt; c = C()</a:t>
            </a:r>
          </a:p>
          <a:p>
            <a:pPr>
              <a:lnSpc>
                <a:spcPct val="110000"/>
              </a:lnSpc>
            </a:pPr>
            <a:endParaRPr lang="en-US" sz="2000" dirty="0">
              <a:latin typeface="+mn-lt"/>
            </a:endParaRPr>
          </a:p>
          <a:p>
            <a:pPr>
              <a:lnSpc>
                <a:spcPct val="110000"/>
              </a:lnSpc>
            </a:pPr>
            <a:r>
              <a:rPr lang="en-US" sz="2000" dirty="0">
                <a:latin typeface="+mn-lt"/>
              </a:rPr>
              <a:t>When you call </a:t>
            </a:r>
            <a:r>
              <a:rPr lang="en-US" sz="2000" b="1" dirty="0" err="1">
                <a:latin typeface="Consolas" panose="020B0609020204030204" pitchFamily="49" charset="0"/>
              </a:rPr>
              <a:t>c.f</a:t>
            </a:r>
            <a:r>
              <a:rPr lang="en-US" sz="2000" b="1" dirty="0">
                <a:latin typeface="Consolas" panose="020B0609020204030204" pitchFamily="49" charset="0"/>
              </a:rPr>
              <a:t>(3)</a:t>
            </a:r>
            <a:r>
              <a:rPr lang="en-US" sz="2000" dirty="0">
                <a:latin typeface="+mn-lt"/>
              </a:rPr>
              <a:t>, the attribute lookup function finds a non-</a:t>
            </a:r>
            <a:r>
              <a:rPr lang="en-US" sz="2000" dirty="0" err="1">
                <a:latin typeface="+mn-lt"/>
              </a:rPr>
              <a:t>datadescriptor</a:t>
            </a:r>
            <a:r>
              <a:rPr lang="en-US" sz="2000" dirty="0">
                <a:latin typeface="+mn-lt"/>
              </a:rPr>
              <a:t> </a:t>
            </a:r>
            <a:r>
              <a:rPr lang="en-US" sz="2000" b="1" dirty="0">
                <a:latin typeface="Consolas" panose="020B0609020204030204" pitchFamily="49" charset="0"/>
              </a:rPr>
              <a:t>f</a:t>
            </a:r>
            <a:r>
              <a:rPr lang="en-US" sz="2000" dirty="0">
                <a:latin typeface="+mn-lt"/>
              </a:rPr>
              <a:t> in class </a:t>
            </a:r>
            <a:r>
              <a:rPr lang="en-US" sz="2000" b="1" dirty="0">
                <a:latin typeface="Consolas" panose="020B0609020204030204" pitchFamily="49" charset="0"/>
              </a:rPr>
              <a:t>C</a:t>
            </a:r>
            <a:r>
              <a:rPr lang="en-US" sz="2000" dirty="0">
                <a:latin typeface="+mn-lt"/>
              </a:rPr>
              <a:t>.</a:t>
            </a: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function of </a:t>
            </a:r>
            <a:r>
              <a:rPr lang="en-US" sz="2000" b="1" dirty="0">
                <a:latin typeface="Consolas" panose="020B0609020204030204" pitchFamily="49" charset="0"/>
              </a:rPr>
              <a:t>f</a:t>
            </a:r>
            <a:r>
              <a:rPr lang="en-US" sz="2000" dirty="0">
                <a:latin typeface="+mn-lt"/>
              </a:rPr>
              <a:t> is called: </a:t>
            </a:r>
            <a:r>
              <a:rPr lang="en-US" sz="2000" b="1" dirty="0">
                <a:latin typeface="Consolas" panose="020B0609020204030204" pitchFamily="49" charset="0"/>
              </a:rPr>
              <a:t>p = </a:t>
            </a:r>
            <a:r>
              <a:rPr lang="en-US" sz="2000" b="1" dirty="0" err="1">
                <a:latin typeface="Consolas" panose="020B0609020204030204" pitchFamily="49" charset="0"/>
              </a:rPr>
              <a:t>f.__get</a:t>
            </a:r>
            <a:r>
              <a:rPr lang="en-US" sz="2000" b="1" dirty="0">
                <a:latin typeface="Consolas" panose="020B0609020204030204" pitchFamily="49" charset="0"/>
              </a:rPr>
              <a:t>__(c, C)</a:t>
            </a:r>
            <a:r>
              <a:rPr lang="en-US" sz="2000" dirty="0">
                <a:latin typeface="+mn-lt"/>
              </a:rPr>
              <a:t>.</a:t>
            </a:r>
          </a:p>
          <a:p>
            <a:pPr>
              <a:lnSpc>
                <a:spcPct val="110000"/>
              </a:lnSpc>
            </a:pPr>
            <a:r>
              <a:rPr lang="en-US" dirty="0">
                <a:latin typeface="+mn-lt"/>
              </a:rPr>
              <a:t>This returns a bound method that is called with the provided argument: </a:t>
            </a:r>
            <a:r>
              <a:rPr lang="en-US" b="1" dirty="0">
                <a:latin typeface="Consolas" panose="020B0609020204030204" pitchFamily="49" charset="0"/>
              </a:rPr>
              <a:t>p(3)</a:t>
            </a:r>
            <a:r>
              <a:rPr lang="en-US" dirty="0">
                <a:latin typeface="+mn-lt"/>
              </a:rPr>
              <a:t>.</a:t>
            </a:r>
          </a:p>
          <a:p>
            <a:pPr>
              <a:lnSpc>
                <a:spcPct val="110000"/>
              </a:lnSpc>
            </a:pPr>
            <a:r>
              <a:rPr lang="en-US" dirty="0">
                <a:latin typeface="+mn-lt"/>
              </a:rPr>
              <a:t>This result in </a:t>
            </a:r>
            <a:r>
              <a:rPr lang="en-US" b="1" dirty="0">
                <a:latin typeface="Consolas" panose="020B0609020204030204" pitchFamily="49" charset="0"/>
              </a:rPr>
              <a:t>f</a:t>
            </a:r>
            <a:r>
              <a:rPr lang="en-US" dirty="0">
                <a:latin typeface="+mn-lt"/>
              </a:rPr>
              <a:t> being called as </a:t>
            </a:r>
            <a:r>
              <a:rPr lang="en-US" b="1" dirty="0">
                <a:latin typeface="Consolas" panose="020B0609020204030204" pitchFamily="49" charset="0"/>
              </a:rPr>
              <a:t>f(c, 3)</a:t>
            </a:r>
          </a:p>
          <a:p>
            <a:pPr>
              <a:lnSpc>
                <a:spcPct val="110000"/>
              </a:lnSpc>
            </a:pPr>
            <a:endParaRPr lang="en-US" sz="2000" dirty="0">
              <a:latin typeface="+mn-lt"/>
            </a:endParaRPr>
          </a:p>
          <a:p>
            <a:pPr>
              <a:lnSpc>
                <a:spcPct val="110000"/>
              </a:lnSpc>
            </a:pPr>
            <a:r>
              <a:rPr lang="en-US" dirty="0">
                <a:latin typeface="+mn-lt"/>
              </a:rPr>
              <a:t>When you access </a:t>
            </a:r>
            <a:r>
              <a:rPr lang="en-US" b="1" dirty="0" err="1">
                <a:latin typeface="Consolas" panose="020B0609020204030204" pitchFamily="49" charset="0"/>
              </a:rPr>
              <a:t>C.f</a:t>
            </a:r>
            <a:r>
              <a:rPr lang="en-US" dirty="0">
                <a:latin typeface="+mn-lt"/>
              </a:rPr>
              <a:t>, so through the class, it returns the plain function </a:t>
            </a:r>
            <a:r>
              <a:rPr lang="en-US" b="1" dirty="0">
                <a:latin typeface="Consolas" panose="020B0609020204030204" pitchFamily="49" charset="0"/>
              </a:rPr>
              <a:t>f</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Methods</a:t>
            </a:r>
            <a:endParaRPr lang="en-US" sz="3000" cap="none" dirty="0">
              <a:solidFill>
                <a:schemeClr val="accent1"/>
              </a:solidFill>
            </a:endParaRPr>
          </a:p>
        </p:txBody>
      </p:sp>
    </p:spTree>
    <p:extLst>
      <p:ext uri="{BB962C8B-B14F-4D97-AF65-F5344CB8AC3E}">
        <p14:creationId xmlns:p14="http://schemas.microsoft.com/office/powerpoint/2010/main" val="38726879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Function:</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obj) if obj is not None else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When accessed via an instance, the </a:t>
            </a:r>
            <a:r>
              <a:rPr lang="en-US" sz="2000" b="1" dirty="0">
                <a:latin typeface="Consolas" panose="020B0609020204030204" pitchFamily="49" charset="0"/>
              </a:rPr>
              <a:t>obj</a:t>
            </a:r>
            <a:r>
              <a:rPr lang="en-US" sz="2000" dirty="0">
                <a:latin typeface="+mn-lt"/>
              </a:rPr>
              <a:t> argument of the </a:t>
            </a:r>
            <a:r>
              <a:rPr lang="en-US" sz="2000" b="1" dirty="0">
                <a:latin typeface="Consolas" panose="020B0609020204030204" pitchFamily="49" charset="0"/>
              </a:rPr>
              <a:t>__get__</a:t>
            </a:r>
            <a:r>
              <a:rPr lang="en-US" sz="2000" dirty="0">
                <a:latin typeface="+mn-lt"/>
              </a:rPr>
              <a:t> method is the instance.</a:t>
            </a:r>
          </a:p>
          <a:p>
            <a:pPr>
              <a:lnSpc>
                <a:spcPct val="110000"/>
              </a:lnSpc>
            </a:pPr>
            <a:r>
              <a:rPr lang="en-US" dirty="0">
                <a:latin typeface="+mn-lt"/>
              </a:rPr>
              <a:t>When accessed via a class, the </a:t>
            </a:r>
            <a:r>
              <a:rPr lang="en-US" b="1" dirty="0">
                <a:latin typeface="Consolas" panose="020B0609020204030204" pitchFamily="49" charset="0"/>
              </a:rPr>
              <a:t>obj</a:t>
            </a:r>
            <a:r>
              <a:rPr lang="en-US" dirty="0">
                <a:latin typeface="+mn-lt"/>
              </a:rPr>
              <a:t> argument is </a:t>
            </a:r>
            <a:r>
              <a:rPr lang="en-US" b="1" dirty="0">
                <a:latin typeface="Consolas" panose="020B0609020204030204" pitchFamily="49" charset="0"/>
              </a:rPr>
              <a:t>None</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Function</a:t>
            </a:r>
            <a:r>
              <a:rPr lang="nl-NL" sz="3000" cap="none" dirty="0">
                <a:solidFill>
                  <a:schemeClr val="accent1"/>
                </a:solidFill>
              </a:rPr>
              <a:t> / </a:t>
            </a:r>
            <a:r>
              <a:rPr lang="nl-NL" sz="3000" cap="none" dirty="0" err="1">
                <a:solidFill>
                  <a:schemeClr val="accent1"/>
                </a:solidFill>
              </a:rPr>
              <a:t>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34912471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Static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static method is accessed through either an instance or a class. In either case it returns the original function, without any pre-filled arguments.</a:t>
            </a:r>
          </a:p>
        </p:txBody>
      </p:sp>
      <p:sp>
        <p:nvSpPr>
          <p:cNvPr id="2" name="Title 1"/>
          <p:cNvSpPr>
            <a:spLocks noGrp="1"/>
          </p:cNvSpPr>
          <p:nvPr>
            <p:ph type="title"/>
          </p:nvPr>
        </p:nvSpPr>
        <p:spPr/>
        <p:txBody>
          <a:bodyPr/>
          <a:lstStyle/>
          <a:p>
            <a:r>
              <a:rPr lang="nl-NL" sz="3000" cap="none" dirty="0" err="1">
                <a:solidFill>
                  <a:schemeClr val="accent1"/>
                </a:solidFill>
              </a:rPr>
              <a:t>Static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10548025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a:t>
            </a:r>
            <a:r>
              <a:rPr lang="en-US" b="1" dirty="0" err="1">
                <a:latin typeface="Consolas" panose="020B0609020204030204" pitchFamily="49" charset="0"/>
              </a:rPr>
              <a:t>Class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if </a:t>
            </a:r>
            <a:r>
              <a:rPr lang="en-US" sz="2000" b="1" dirty="0" err="1">
                <a:latin typeface="Consolas" panose="020B0609020204030204" pitchFamily="49" charset="0"/>
              </a:rPr>
              <a:t>owner_class</a:t>
            </a:r>
            <a:r>
              <a:rPr lang="en-US" sz="2000" b="1" dirty="0">
                <a:latin typeface="Consolas" panose="020B0609020204030204" pitchFamily="49" charset="0"/>
              </a:rPr>
              <a:t> is None:</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owner_class</a:t>
            </a:r>
            <a:r>
              <a:rPr lang="en-US" b="1" dirty="0">
                <a:latin typeface="Consolas" panose="020B0609020204030204" pitchFamily="49" charset="0"/>
              </a:rPr>
              <a:t> = type(obj)</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a:t>
            </a:r>
            <a:r>
              <a:rPr lang="en-US" sz="2000" b="1" dirty="0" err="1">
                <a:latin typeface="Consolas" panose="020B0609020204030204" pitchFamily="49" charset="0"/>
              </a:rPr>
              <a:t>owner_class</a:t>
            </a:r>
            <a:r>
              <a:rPr lang="en-US" sz="2000" b="1" dirty="0">
                <a:latin typeface="Consolas" panose="020B0609020204030204" pitchFamily="49" charset="0"/>
              </a:rPr>
              <a:t>)</a:t>
            </a: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class method is accessed through either an instance or a class. In either case it sets the first argument of the original function to the class</a:t>
            </a:r>
          </a:p>
        </p:txBody>
      </p:sp>
      <p:sp>
        <p:nvSpPr>
          <p:cNvPr id="2" name="Title 1"/>
          <p:cNvSpPr>
            <a:spLocks noGrp="1"/>
          </p:cNvSpPr>
          <p:nvPr>
            <p:ph type="title"/>
          </p:nvPr>
        </p:nvSpPr>
        <p:spPr/>
        <p:txBody>
          <a:bodyPr/>
          <a:lstStyle/>
          <a:p>
            <a:r>
              <a:rPr lang="nl-NL" sz="3000" cap="none" dirty="0" err="1">
                <a:solidFill>
                  <a:schemeClr val="accent1"/>
                </a:solidFill>
              </a:rPr>
              <a:t>Class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255405118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16179307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100" dirty="0" err="1">
                <a:latin typeface="+mn-lt"/>
              </a:rPr>
              <a:t>This</a:t>
            </a:r>
            <a:r>
              <a:rPr lang="nl-NL" sz="2100" dirty="0">
                <a:latin typeface="+mn-lt"/>
              </a:rPr>
              <a:t> </a:t>
            </a:r>
            <a:r>
              <a:rPr lang="nl-NL" sz="2100" dirty="0" err="1">
                <a:latin typeface="+mn-lt"/>
              </a:rPr>
              <a:t>presentation</a:t>
            </a:r>
            <a:r>
              <a:rPr lang="nl-NL" sz="2100" dirty="0">
                <a:latin typeface="+mn-lt"/>
              </a:rPr>
              <a:t>, </a:t>
            </a:r>
            <a:r>
              <a:rPr lang="nl-NL" sz="2100" dirty="0" err="1">
                <a:latin typeface="+mn-lt"/>
              </a:rPr>
              <a:t>together</a:t>
            </a:r>
            <a:r>
              <a:rPr lang="nl-NL" sz="2100" dirty="0">
                <a:latin typeface="+mn-lt"/>
              </a:rPr>
              <a:t> </a:t>
            </a:r>
            <a:r>
              <a:rPr lang="nl-NL" sz="2100" dirty="0" err="1">
                <a:latin typeface="+mn-lt"/>
              </a:rPr>
              <a:t>with</a:t>
            </a:r>
            <a:r>
              <a:rPr lang="nl-NL" sz="2100" dirty="0">
                <a:latin typeface="+mn-lt"/>
              </a:rPr>
              <a:t> </a:t>
            </a:r>
            <a:r>
              <a:rPr lang="nl-NL" sz="2100" dirty="0" err="1">
                <a:latin typeface="+mn-lt"/>
              </a:rPr>
              <a:t>the</a:t>
            </a:r>
            <a:r>
              <a:rPr lang="nl-NL" sz="2100" dirty="0">
                <a:latin typeface="+mn-lt"/>
              </a:rPr>
              <a:t> </a:t>
            </a:r>
            <a:r>
              <a:rPr lang="nl-NL" sz="2100" dirty="0" err="1">
                <a:latin typeface="+mn-lt"/>
              </a:rPr>
              <a:t>example</a:t>
            </a:r>
            <a:r>
              <a:rPr lang="nl-NL" sz="2100" dirty="0">
                <a:latin typeface="+mn-lt"/>
              </a:rPr>
              <a:t> code, </a:t>
            </a:r>
            <a:r>
              <a:rPr lang="nl-NL" sz="2100" dirty="0" err="1">
                <a:latin typeface="+mn-lt"/>
              </a:rPr>
              <a:t>will</a:t>
            </a:r>
            <a:r>
              <a:rPr lang="nl-NL" sz="2100" dirty="0">
                <a:latin typeface="+mn-lt"/>
              </a:rPr>
              <a:t> </a:t>
            </a:r>
            <a:r>
              <a:rPr lang="nl-NL" sz="2100" dirty="0" err="1">
                <a:latin typeface="+mn-lt"/>
              </a:rPr>
              <a:t>be</a:t>
            </a:r>
            <a:r>
              <a:rPr lang="nl-NL" sz="2100" dirty="0">
                <a:latin typeface="+mn-lt"/>
              </a:rPr>
              <a:t> </a:t>
            </a:r>
            <a:r>
              <a:rPr lang="nl-NL" sz="2100" dirty="0" err="1">
                <a:latin typeface="+mn-lt"/>
              </a:rPr>
              <a:t>available</a:t>
            </a:r>
            <a:r>
              <a:rPr lang="nl-NL" sz="2100" dirty="0">
                <a:latin typeface="+mn-lt"/>
              </a:rPr>
              <a:t> on</a:t>
            </a:r>
          </a:p>
          <a:p>
            <a:endParaRPr lang="nl-NL" sz="2100" dirty="0">
              <a:latin typeface="+mn-lt"/>
            </a:endParaRPr>
          </a:p>
          <a:p>
            <a:r>
              <a:rPr lang="nl-NL" sz="2100" dirty="0">
                <a:latin typeface="+mn-lt"/>
                <a:hlinkClick r:id="rId2"/>
              </a:rPr>
              <a:t>https://github.com/Python-Masterclass/imports</a:t>
            </a:r>
            <a:endParaRPr lang="nl-NL" sz="2100" dirty="0">
              <a:latin typeface="+mn-lt"/>
            </a:endParaRPr>
          </a:p>
          <a:p>
            <a:endParaRPr lang="nl-NL" sz="2100" dirty="0">
              <a:latin typeface="+mn-lt"/>
            </a:endParaRPr>
          </a:p>
          <a:p>
            <a:endParaRPr lang="nl-NL" sz="2100" dirty="0">
              <a:latin typeface="+mn-lt"/>
            </a:endParaRPr>
          </a:p>
          <a:p>
            <a:r>
              <a:rPr lang="nl-NL" sz="2100" dirty="0" err="1">
                <a:latin typeface="+mn-lt"/>
              </a:rPr>
              <a:t>Documentation</a:t>
            </a:r>
            <a:r>
              <a:rPr lang="nl-NL" sz="2100" dirty="0">
                <a:latin typeface="+mn-lt"/>
              </a:rPr>
              <a:t>:</a:t>
            </a:r>
          </a:p>
          <a:p>
            <a:r>
              <a:rPr lang="en-US" sz="2100" dirty="0">
                <a:latin typeface="+mn-lt"/>
                <a:hlinkClick r:id="rId3"/>
              </a:rPr>
              <a:t>https://docs.python.org/3/library/importlib.html</a:t>
            </a:r>
            <a:endParaRPr lang="en-US" sz="2100" dirty="0">
              <a:latin typeface="+mn-lt"/>
            </a:endParaRPr>
          </a:p>
          <a:p>
            <a:r>
              <a:rPr lang="en-US" sz="2100" dirty="0">
                <a:latin typeface="+mn-lt"/>
                <a:hlinkClick r:id="rId4"/>
              </a:rPr>
              <a:t>https://peps.python.org/pep-0451/</a:t>
            </a:r>
            <a:endParaRPr lang="en-US" sz="2100" dirty="0">
              <a:latin typeface="+mn-lt"/>
            </a:endParaRPr>
          </a:p>
          <a:p>
            <a:r>
              <a:rPr lang="nl-NL" sz="2100" dirty="0">
                <a:latin typeface="+mn-lt"/>
                <a:hlinkClick r:id="rId5"/>
              </a:rPr>
              <a:t>https://ep2022.europython.eu/session/what-happens-when-you-import-a-module</a:t>
            </a:r>
            <a:endParaRPr lang="nl-NL" sz="2100" dirty="0">
              <a:latin typeface="+mn-lt"/>
            </a:endParaRPr>
          </a:p>
          <a:p>
            <a:r>
              <a:rPr lang="nl-NL" sz="2100" dirty="0">
                <a:latin typeface="+mn-lt"/>
                <a:hlinkClick r:id="rId6"/>
              </a:rPr>
              <a:t>https://stackoverflow.com/questions/41990169/how-to-use-sys-path-hooks-for-customized-loading-of-modules</a:t>
            </a:r>
            <a:endParaRPr lang="nl-NL" sz="21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38758897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buFont typeface="Arial" panose="020B0604020202020204" pitchFamily="34" charset="0"/>
              <a:buChar char="•"/>
            </a:pPr>
            <a:r>
              <a:rPr lang="en-US" sz="2400" dirty="0">
                <a:latin typeface="Ubuntu" panose="020B0604020202020204" charset="0"/>
              </a:rPr>
              <a:t>When you use a </a:t>
            </a:r>
            <a:r>
              <a:rPr lang="en-US" sz="2400" i="1" dirty="0">
                <a:latin typeface="Ubuntu" panose="020B0604020202020204" charset="0"/>
              </a:rPr>
              <a:t>dotted</a:t>
            </a:r>
            <a:r>
              <a:rPr lang="en-US" sz="2400" dirty="0">
                <a:latin typeface="Ubuntu" panose="020B0604020202020204" charset="0"/>
              </a:rPr>
              <a:t> notation to refer to an object, you are </a:t>
            </a:r>
            <a:r>
              <a:rPr lang="en-US" sz="2400" dirty="0" err="1">
                <a:latin typeface="Ubuntu" panose="020B0604020202020204" charset="0"/>
              </a:rPr>
              <a:t>refering</a:t>
            </a:r>
            <a:r>
              <a:rPr lang="en-US" sz="2400" dirty="0">
                <a:latin typeface="Ubuntu" panose="020B0604020202020204" charset="0"/>
              </a:rPr>
              <a:t> to an attribute.</a:t>
            </a:r>
          </a:p>
          <a:p>
            <a:pPr marL="342900" indent="-342900">
              <a:buFont typeface="Arial" panose="020B0604020202020204" pitchFamily="34" charset="0"/>
              <a:buChar char="•"/>
            </a:pPr>
            <a:r>
              <a:rPr lang="en-US" sz="2400" dirty="0">
                <a:latin typeface="Ubuntu" panose="020B0604020202020204" charset="0"/>
              </a:rPr>
              <a:t>There are essentially three different types of operations that you can do with an attribute</a:t>
            </a:r>
          </a:p>
          <a:p>
            <a:pPr marL="609600" lvl="1" indent="-342900">
              <a:buFont typeface="Arial" panose="020B0604020202020204" pitchFamily="34" charset="0"/>
              <a:buChar char="•"/>
            </a:pPr>
            <a:r>
              <a:rPr lang="en-US" sz="2200" dirty="0">
                <a:latin typeface="Ubuntu" panose="020B0604020202020204" charset="0"/>
              </a:rPr>
              <a:t>Setting the attribute (</a:t>
            </a:r>
            <a:r>
              <a:rPr lang="en-US" sz="2200" b="1" dirty="0" err="1">
                <a:latin typeface="Consolas" panose="020B0609020204030204" pitchFamily="49" charset="0"/>
              </a:rPr>
              <a:t>obj.x</a:t>
            </a:r>
            <a:r>
              <a:rPr lang="en-US" sz="2200" b="1" dirty="0">
                <a:latin typeface="Consolas" panose="020B0609020204030204" pitchFamily="49" charset="0"/>
              </a:rPr>
              <a:t> = 3</a:t>
            </a:r>
            <a:r>
              <a:rPr lang="en-US" sz="2200" dirty="0">
                <a:latin typeface="Ubuntu" panose="020B0604020202020204" charset="0"/>
              </a:rPr>
              <a:t>)</a:t>
            </a:r>
          </a:p>
          <a:p>
            <a:pPr marL="609600" lvl="1" indent="-342900">
              <a:buFont typeface="Arial" panose="020B0604020202020204" pitchFamily="34" charset="0"/>
              <a:buChar char="•"/>
            </a:pPr>
            <a:r>
              <a:rPr lang="en-US" sz="2200" dirty="0">
                <a:latin typeface="Ubuntu" panose="020B0604020202020204" charset="0"/>
              </a:rPr>
              <a:t>Deleting the attribute  (</a:t>
            </a:r>
            <a:r>
              <a:rPr lang="en-US" sz="2200" b="1" dirty="0">
                <a:latin typeface="Consolas" panose="020B0609020204030204" pitchFamily="49" charset="0"/>
              </a:rPr>
              <a:t>del </a:t>
            </a:r>
            <a:r>
              <a:rPr lang="en-US" sz="2200" b="1" dirty="0" err="1">
                <a:latin typeface="Consolas" panose="020B0609020204030204" pitchFamily="49" charset="0"/>
              </a:rPr>
              <a:t>obj.x</a:t>
            </a:r>
            <a:r>
              <a:rPr lang="en-US" sz="2200" dirty="0">
                <a:latin typeface="Ubuntu" panose="020B0604020202020204" charset="0"/>
              </a:rPr>
              <a:t>)</a:t>
            </a:r>
          </a:p>
          <a:p>
            <a:pPr marL="609600" lvl="1" indent="-342900">
              <a:buFont typeface="Arial" panose="020B0604020202020204" pitchFamily="34" charset="0"/>
              <a:buChar char="•"/>
            </a:pPr>
            <a:r>
              <a:rPr lang="en-US" sz="2200" dirty="0">
                <a:latin typeface="Ubuntu" panose="020B0604020202020204" charset="0"/>
              </a:rPr>
              <a:t>Getting the attribute (anything else, e.g. </a:t>
            </a:r>
            <a:r>
              <a:rPr lang="en-US" sz="2200" b="1" dirty="0">
                <a:latin typeface="Consolas" panose="020B0609020204030204" pitchFamily="49" charset="0"/>
              </a:rPr>
              <a:t>print(</a:t>
            </a:r>
            <a:r>
              <a:rPr lang="en-US" sz="2200" b="1" dirty="0" err="1">
                <a:latin typeface="Consolas" panose="020B0609020204030204" pitchFamily="49" charset="0"/>
              </a:rPr>
              <a:t>obj.x</a:t>
            </a:r>
            <a:r>
              <a:rPr lang="en-US" sz="2200" b="1" dirty="0">
                <a:latin typeface="Consolas" panose="020B0609020204030204" pitchFamily="49" charset="0"/>
              </a:rPr>
              <a:t>)</a:t>
            </a:r>
            <a:r>
              <a:rPr lang="en-US" sz="2200" dirty="0">
                <a:latin typeface="Ubuntu" panose="020B0604020202020204" charset="0"/>
              </a:rPr>
              <a:t>)</a:t>
            </a:r>
          </a:p>
          <a:p>
            <a:pPr marL="342900" indent="-342900">
              <a:buFont typeface="Arial" panose="020B0604020202020204" pitchFamily="34" charset="0"/>
              <a:buChar char="•"/>
            </a:pPr>
            <a:r>
              <a:rPr lang="en-US" sz="2400" dirty="0">
                <a:latin typeface="Ubuntu" panose="020B0604020202020204" charset="0"/>
              </a:rPr>
              <a:t>We first look into these operations for regular (non-descriptor) attributes.</a:t>
            </a: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Attributes</a:t>
            </a:r>
            <a:endParaRPr lang="en-US" sz="3000" cap="none" dirty="0">
              <a:solidFill>
                <a:schemeClr val="accent1"/>
              </a:solidFill>
            </a:endParaRPr>
          </a:p>
        </p:txBody>
      </p:sp>
    </p:spTree>
    <p:extLst>
      <p:ext uri="{BB962C8B-B14F-4D97-AF65-F5344CB8AC3E}">
        <p14:creationId xmlns:p14="http://schemas.microsoft.com/office/powerpoint/2010/main" val="13899578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Instance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598556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1)</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3329984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1)</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7730790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template_Capgemini-Engineering" id="{E624C1BF-E58A-4E16-B3C6-014B8793A0E3}" vid="{F4924ECB-C354-45D7-B318-BB90E09E2E27}"/>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9077</TotalTime>
  <Words>3598</Words>
  <Application>Microsoft Office PowerPoint</Application>
  <PresentationFormat>Breedbeeld</PresentationFormat>
  <Paragraphs>676</Paragraphs>
  <Slides>59</Slides>
  <Notes>0</Notes>
  <HiddenSlides>0</HiddenSlides>
  <MMClips>0</MMClips>
  <ScaleCrop>false</ScaleCrop>
  <HeadingPairs>
    <vt:vector size="8" baseType="variant">
      <vt:variant>
        <vt:lpstr>Gebruikte lettertypen</vt:lpstr>
      </vt:variant>
      <vt:variant>
        <vt:i4>7</vt:i4>
      </vt:variant>
      <vt:variant>
        <vt:lpstr>Thema</vt:lpstr>
      </vt:variant>
      <vt:variant>
        <vt:i4>5</vt:i4>
      </vt:variant>
      <vt:variant>
        <vt:lpstr>Ingesloten OLE-bronprogramma's</vt:lpstr>
      </vt:variant>
      <vt:variant>
        <vt:i4>1</vt:i4>
      </vt:variant>
      <vt:variant>
        <vt:lpstr>Diatitels</vt:lpstr>
      </vt:variant>
      <vt:variant>
        <vt:i4>59</vt:i4>
      </vt:variant>
    </vt:vector>
  </HeadingPairs>
  <TitlesOfParts>
    <vt:vector size="72" baseType="lpstr">
      <vt:lpstr>Arial</vt:lpstr>
      <vt:lpstr>Ubuntu Medium</vt:lpstr>
      <vt:lpstr>Consolas</vt:lpstr>
      <vt:lpstr>Wingdings</vt:lpstr>
      <vt:lpstr>Verdana</vt:lpstr>
      <vt:lpstr>Ubuntu Light</vt:lpstr>
      <vt:lpstr>Ubuntu</vt:lpstr>
      <vt:lpstr>Capgemini Master 2021</vt:lpstr>
      <vt:lpstr>Cover options_Section</vt:lpstr>
      <vt:lpstr>Capgemini Master</vt:lpstr>
      <vt:lpstr>1_Capgemini Master 2021</vt:lpstr>
      <vt:lpstr>2_Capgemini Master 2021</vt:lpstr>
      <vt:lpstr>think-cell Slide</vt:lpstr>
      <vt:lpstr>The Magic of descriptors</vt:lpstr>
      <vt:lpstr>Python masterclasses</vt:lpstr>
      <vt:lpstr>Agenda</vt:lpstr>
      <vt:lpstr>Recap Object hierarchy and attribute lookup</vt:lpstr>
      <vt:lpstr>Object hierarchy</vt:lpstr>
      <vt:lpstr>Attributes</vt:lpstr>
      <vt:lpstr>Instance Attributes</vt:lpstr>
      <vt:lpstr>Instance attribute lookup (1)</vt:lpstr>
      <vt:lpstr>Instance attribute lookup (1)</vt:lpstr>
      <vt:lpstr>Instance attribute lookup (2)</vt:lpstr>
      <vt:lpstr>Instance attribute lookup (2)</vt:lpstr>
      <vt:lpstr>Instance attribute setting</vt:lpstr>
      <vt:lpstr>Instance attribute setting</vt:lpstr>
      <vt:lpstr>Instance attribute deletion</vt:lpstr>
      <vt:lpstr>Instance attribute deletion</vt:lpstr>
      <vt:lpstr>Instance attribute deletion (2)</vt:lpstr>
      <vt:lpstr>Instance attribute deletion (2)</vt:lpstr>
      <vt:lpstr>Class Attributes</vt:lpstr>
      <vt:lpstr>Class attribute lookup (1)</vt:lpstr>
      <vt:lpstr>Class attribute lookup (1)</vt:lpstr>
      <vt:lpstr>Class attribute lookup (2)</vt:lpstr>
      <vt:lpstr>Class attribute lookup (2)</vt:lpstr>
      <vt:lpstr>Class attribute setting</vt:lpstr>
      <vt:lpstr>Class attribute setting</vt:lpstr>
      <vt:lpstr>Class attribute deletion</vt:lpstr>
      <vt:lpstr>Class attribute deletion (2)</vt:lpstr>
      <vt:lpstr>Class attribute deletion (2)</vt:lpstr>
      <vt:lpstr>Summary</vt:lpstr>
      <vt:lpstr>Non-descriptor attributes</vt:lpstr>
      <vt:lpstr>Descriptors</vt:lpstr>
      <vt:lpstr>Descriptor protocol</vt:lpstr>
      <vt:lpstr>Descriptor protocol</vt:lpstr>
      <vt:lpstr>Descriptor are used as attributes</vt:lpstr>
      <vt:lpstr>Attribute access mechanism</vt:lpstr>
      <vt:lpstr>Attribute access</vt:lpstr>
      <vt:lpstr>Demo attribute_access.py</vt:lpstr>
      <vt:lpstr>Demo analysis</vt:lpstr>
      <vt:lpstr>Searching the MRO</vt:lpstr>
      <vt:lpstr>When setting an attribute: a.x = v</vt:lpstr>
      <vt:lpstr>When deleting an attribute: del a.x</vt:lpstr>
      <vt:lpstr>When getting an instance attribute: a.x</vt:lpstr>
      <vt:lpstr>When getting class attribute: A.x</vt:lpstr>
      <vt:lpstr>Attribute lookup from super()</vt:lpstr>
      <vt:lpstr>Bonus: __set_name__</vt:lpstr>
      <vt:lpstr>Special method __set_name__()</vt:lpstr>
      <vt:lpstr>Properties</vt:lpstr>
      <vt:lpstr>Properties</vt:lpstr>
      <vt:lpstr>The property function</vt:lpstr>
      <vt:lpstr>Property decorators</vt:lpstr>
      <vt:lpstr>Barebones property emulation</vt:lpstr>
      <vt:lpstr>Functions, methods, classmethods, staticmethods</vt:lpstr>
      <vt:lpstr>Functions are descriptors</vt:lpstr>
      <vt:lpstr>Methods</vt:lpstr>
      <vt:lpstr>Function / method emulation</vt:lpstr>
      <vt:lpstr>Staticmethod emulation</vt:lpstr>
      <vt:lpstr>Classmethod emulation</vt:lpstr>
      <vt:lpstr>PowerPoint-presentatie</vt:lpstr>
      <vt:lpstr>Getting the presentation and example code</vt:lpstr>
      <vt:lpstr>PowerPoint-presentati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Ruud de Jong</cp:lastModifiedBy>
  <cp:revision>131</cp:revision>
  <dcterms:created xsi:type="dcterms:W3CDTF">2021-07-21T09:49:07Z</dcterms:created>
  <dcterms:modified xsi:type="dcterms:W3CDTF">2023-03-05T15:40:20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